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</p:sldMasterIdLst>
  <p:notesMasterIdLst>
    <p:notesMasterId r:id="rId14"/>
  </p:notesMasterIdLst>
  <p:handoutMasterIdLst>
    <p:handoutMasterId r:id="rId15"/>
  </p:handoutMasterIdLst>
  <p:sldIdLst>
    <p:sldId id="616" r:id="rId2"/>
    <p:sldId id="632" r:id="rId3"/>
    <p:sldId id="549" r:id="rId4"/>
    <p:sldId id="618" r:id="rId5"/>
    <p:sldId id="626" r:id="rId6"/>
    <p:sldId id="628" r:id="rId7"/>
    <p:sldId id="631" r:id="rId8"/>
    <p:sldId id="624" r:id="rId9"/>
    <p:sldId id="623" r:id="rId10"/>
    <p:sldId id="622" r:id="rId11"/>
    <p:sldId id="621" r:id="rId12"/>
    <p:sldId id="633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3F8A"/>
    <a:srgbClr val="FFEBE8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FD0F851-EC5A-4D38-B0AD-8093EC10F338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660B408-B3CF-4A94-85FC-2B1E0A45F4A2}" styleName="Tmavý styl 2 – zvýraznění 1/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C2FFA5D-87B4-456A-9821-1D502468CF0F}" styleName="Styl s motivem 1 – zvýraznění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25E5076-3810-47DD-B79F-674D7AD40C01}" styleName="Tmavý styl 1 – zvýraznění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73A0DAA-6AF3-43AB-8588-CEC1D06C72B9}" styleName="Střední styl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8EC20E35-A176-4012-BC5E-935CFFF8708E}" styleName="Střední styl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Střední styl 3 – zvýraznění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Střední styl 3 – zvýraznění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Střední styl 3 – zvýraznění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Střední styl 3 – zvýraznění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4C1A8A3-306A-4EB7-A6B1-4F7E0EB9C5D6}" styleName="Střední styl 3 – zvýraznění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202B0CA-FC54-4496-8BCA-5EF66A818D29}" styleName="Tmavý styl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1EBBBCC-DAD2-459C-BE2E-F6DE35CF9A28}" styleName="Dark Style 2 - Accent 3/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167" autoAdjust="0"/>
    <p:restoredTop sz="94985"/>
  </p:normalViewPr>
  <p:slideViewPr>
    <p:cSldViewPr snapToGrid="0">
      <p:cViewPr varScale="1">
        <p:scale>
          <a:sx n="108" d="100"/>
          <a:sy n="108" d="100"/>
        </p:scale>
        <p:origin x="704" y="1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Grid="0">
      <p:cViewPr varScale="1">
        <p:scale>
          <a:sx n="114" d="100"/>
          <a:sy n="114" d="100"/>
        </p:scale>
        <p:origin x="3056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21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image" Target="../media/image10.svg"/><Relationship Id="rId1" Type="http://schemas.openxmlformats.org/officeDocument/2006/relationships/image" Target="../media/image9.png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Relationship Id="rId14" Type="http://schemas.openxmlformats.org/officeDocument/2006/relationships/image" Target="../media/image22.sv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13" Type="http://schemas.openxmlformats.org/officeDocument/2006/relationships/image" Target="../media/image21.png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20.svg"/><Relationship Id="rId2" Type="http://schemas.openxmlformats.org/officeDocument/2006/relationships/image" Target="../media/image10.svg"/><Relationship Id="rId1" Type="http://schemas.openxmlformats.org/officeDocument/2006/relationships/image" Target="../media/image9.png"/><Relationship Id="rId6" Type="http://schemas.openxmlformats.org/officeDocument/2006/relationships/image" Target="../media/image14.svg"/><Relationship Id="rId11" Type="http://schemas.openxmlformats.org/officeDocument/2006/relationships/image" Target="../media/image19.png"/><Relationship Id="rId5" Type="http://schemas.openxmlformats.org/officeDocument/2006/relationships/image" Target="../media/image13.png"/><Relationship Id="rId10" Type="http://schemas.openxmlformats.org/officeDocument/2006/relationships/image" Target="../media/image18.svg"/><Relationship Id="rId4" Type="http://schemas.openxmlformats.org/officeDocument/2006/relationships/image" Target="../media/image12.svg"/><Relationship Id="rId9" Type="http://schemas.openxmlformats.org/officeDocument/2006/relationships/image" Target="../media/image17.png"/><Relationship Id="rId14" Type="http://schemas.openxmlformats.org/officeDocument/2006/relationships/image" Target="../media/image22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18/5/colors/Iconchunking_neutralicontext_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bg1"/>
    </dgm:fillClrLst>
    <dgm:linClrLst meth="repeat">
      <a:schemeClr val="lt2">
        <a:alpha val="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/>
    </dgm:fillClrLst>
    <dgm:linClrLst meth="repeat">
      <a:schemeClr val="lt2">
        <a:alpha val="0"/>
      </a:schemeClr>
    </dgm:linClrLst>
    <dgm:effectClrLst/>
    <dgm:txLinClrLst/>
    <dgm:txFillClrLst/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bg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225A522-F4DA-4E5A-B1E5-56F7E2528381}" type="doc">
      <dgm:prSet loTypeId="urn:microsoft.com/office/officeart/2018/2/layout/IconVerticalSolidList" loCatId="icon" qsTypeId="urn:microsoft.com/office/officeart/2005/8/quickstyle/simple1" qsCatId="simple" csTypeId="urn:microsoft.com/office/officeart/2018/5/colors/Iconchunking_neutralicontext_accent0_3" csCatId="mainScheme" phldr="1"/>
      <dgm:spPr/>
      <dgm:t>
        <a:bodyPr/>
        <a:lstStyle/>
        <a:p>
          <a:endParaRPr lang="en-US"/>
        </a:p>
      </dgm:t>
    </dgm:pt>
    <dgm:pt modelId="{18E8129E-CEB5-4A46-A3DB-8C86F85D0D92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1" i="0" dirty="0"/>
            <a:t>Zpoždění zahájení racionální medikamentózní léčby a léčby onemocnění</a:t>
          </a:r>
          <a:endParaRPr lang="en-US" dirty="0"/>
        </a:p>
      </dgm:t>
    </dgm:pt>
    <dgm:pt modelId="{24CF11F8-DA9E-4A44-97DE-38EED1E1D23C}" type="parTrans" cxnId="{DFB4BD50-CAE0-4C8B-BF65-259A69E529F7}">
      <dgm:prSet/>
      <dgm:spPr/>
      <dgm:t>
        <a:bodyPr/>
        <a:lstStyle/>
        <a:p>
          <a:endParaRPr lang="en-US" sz="800"/>
        </a:p>
      </dgm:t>
    </dgm:pt>
    <dgm:pt modelId="{C1C37C5C-F82B-42E9-9086-30AC7CDF12EE}" type="sibTrans" cxnId="{DFB4BD50-CAE0-4C8B-BF65-259A69E529F7}">
      <dgm:prSet/>
      <dgm:spPr/>
      <dgm:t>
        <a:bodyPr/>
        <a:lstStyle/>
        <a:p>
          <a:endParaRPr lang="en-US"/>
        </a:p>
      </dgm:t>
    </dgm:pt>
    <dgm:pt modelId="{7E74A961-AD2F-4823-8E26-85888D184C4A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0" i="0" dirty="0"/>
            <a:t>Zbytečné zpoždění včasného zahájení léčby pacientů</a:t>
          </a:r>
          <a:endParaRPr lang="en-US" dirty="0"/>
        </a:p>
      </dgm:t>
    </dgm:pt>
    <dgm:pt modelId="{87831F06-E35A-425B-A567-53FEA6F8823C}" type="parTrans" cxnId="{08C5AE7D-ECFD-4E8F-AA12-D3A5807A63E1}">
      <dgm:prSet/>
      <dgm:spPr/>
      <dgm:t>
        <a:bodyPr/>
        <a:lstStyle/>
        <a:p>
          <a:endParaRPr lang="en-US" sz="800"/>
        </a:p>
      </dgm:t>
    </dgm:pt>
    <dgm:pt modelId="{A414390A-E0D2-46C3-AF05-301E515569A1}" type="sibTrans" cxnId="{08C5AE7D-ECFD-4E8F-AA12-D3A5807A63E1}">
      <dgm:prSet/>
      <dgm:spPr/>
      <dgm:t>
        <a:bodyPr/>
        <a:lstStyle/>
        <a:p>
          <a:endParaRPr lang="en-US"/>
        </a:p>
      </dgm:t>
    </dgm:pt>
    <dgm:pt modelId="{F63DD8C8-FA5A-4F26-9220-5C9A781943CE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0" i="0" dirty="0"/>
            <a:t>Dlouhé objednací lhůty ke specialistům 3-6 měsíců</a:t>
          </a:r>
          <a:endParaRPr lang="en-US" dirty="0"/>
        </a:p>
      </dgm:t>
    </dgm:pt>
    <dgm:pt modelId="{CD7EFC80-7E1E-44DB-A3E7-47D712C9C8FC}" type="parTrans" cxnId="{B6744C70-A24C-49FF-A0D2-13B3D5DABE00}">
      <dgm:prSet/>
      <dgm:spPr/>
      <dgm:t>
        <a:bodyPr/>
        <a:lstStyle/>
        <a:p>
          <a:endParaRPr lang="en-US" sz="800"/>
        </a:p>
      </dgm:t>
    </dgm:pt>
    <dgm:pt modelId="{4A12C829-B556-4E72-BB22-02D909D0B79C}" type="sibTrans" cxnId="{B6744C70-A24C-49FF-A0D2-13B3D5DABE00}">
      <dgm:prSet/>
      <dgm:spPr/>
      <dgm:t>
        <a:bodyPr/>
        <a:lstStyle/>
        <a:p>
          <a:endParaRPr lang="en-US"/>
        </a:p>
      </dgm:t>
    </dgm:pt>
    <dgm:pt modelId="{E138F8B0-5E70-4DBC-AF9A-3F6544621F6C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1" i="0" dirty="0"/>
            <a:t>Reálná nedostupnost terapie</a:t>
          </a:r>
          <a:r>
            <a:rPr lang="cs-CZ" b="0" i="0" dirty="0"/>
            <a:t> = </a:t>
          </a:r>
          <a:r>
            <a:rPr lang="cs-CZ" b="1" i="0" dirty="0"/>
            <a:t>nízký počet/kapacity specialistů</a:t>
          </a:r>
          <a:endParaRPr lang="en-US" b="1" dirty="0"/>
        </a:p>
      </dgm:t>
    </dgm:pt>
    <dgm:pt modelId="{B98D7DBD-7785-4DAA-8A17-51EAD3CA1B6D}" type="parTrans" cxnId="{D8626041-79DD-4F05-AE83-947E1FD3397C}">
      <dgm:prSet/>
      <dgm:spPr/>
      <dgm:t>
        <a:bodyPr/>
        <a:lstStyle/>
        <a:p>
          <a:endParaRPr lang="en-US" sz="800"/>
        </a:p>
      </dgm:t>
    </dgm:pt>
    <dgm:pt modelId="{F3D17C18-316B-4A0F-A2A4-9C9313AAA45F}" type="sibTrans" cxnId="{D8626041-79DD-4F05-AE83-947E1FD3397C}">
      <dgm:prSet/>
      <dgm:spPr/>
      <dgm:t>
        <a:bodyPr/>
        <a:lstStyle/>
        <a:p>
          <a:endParaRPr lang="en-US"/>
        </a:p>
      </dgm:t>
    </dgm:pt>
    <dgm:pt modelId="{42644D9E-7601-4650-A22B-4CB4C579CA7E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0" i="0" dirty="0"/>
            <a:t>Např. osteoporóza, migréna</a:t>
          </a:r>
          <a:endParaRPr lang="en-US" dirty="0"/>
        </a:p>
      </dgm:t>
    </dgm:pt>
    <dgm:pt modelId="{C28C27F5-C4DC-4A55-85DF-55FEA0675EFC}" type="parTrans" cxnId="{A775F216-F940-40B6-8DE8-142CBCD5D5D2}">
      <dgm:prSet/>
      <dgm:spPr/>
      <dgm:t>
        <a:bodyPr/>
        <a:lstStyle/>
        <a:p>
          <a:endParaRPr lang="en-US" sz="800"/>
        </a:p>
      </dgm:t>
    </dgm:pt>
    <dgm:pt modelId="{B7CEE96D-62B9-49D6-8A1D-5D31830AEE41}" type="sibTrans" cxnId="{A775F216-F940-40B6-8DE8-142CBCD5D5D2}">
      <dgm:prSet/>
      <dgm:spPr/>
      <dgm:t>
        <a:bodyPr/>
        <a:lstStyle/>
        <a:p>
          <a:endParaRPr lang="en-US"/>
        </a:p>
      </dgm:t>
    </dgm:pt>
    <dgm:pt modelId="{246BD4F0-9124-4608-8BEC-D9599EFF34D1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0" i="0" dirty="0"/>
            <a:t>Regionální nedostupnost kapacit specialistů</a:t>
          </a:r>
          <a:endParaRPr lang="en-US" dirty="0"/>
        </a:p>
      </dgm:t>
    </dgm:pt>
    <dgm:pt modelId="{9E3BA02A-89F4-4A46-8B76-A5DC40310A33}" type="parTrans" cxnId="{BDDDEB15-27A9-4FA3-894E-E30AFC10A39B}">
      <dgm:prSet/>
      <dgm:spPr/>
      <dgm:t>
        <a:bodyPr/>
        <a:lstStyle/>
        <a:p>
          <a:endParaRPr lang="en-US" sz="800"/>
        </a:p>
      </dgm:t>
    </dgm:pt>
    <dgm:pt modelId="{D8C8E2FE-500C-4828-BEEC-F73DFA2734DD}" type="sibTrans" cxnId="{BDDDEB15-27A9-4FA3-894E-E30AFC10A39B}">
      <dgm:prSet/>
      <dgm:spPr/>
      <dgm:t>
        <a:bodyPr/>
        <a:lstStyle/>
        <a:p>
          <a:endParaRPr lang="en-US"/>
        </a:p>
      </dgm:t>
    </dgm:pt>
    <dgm:pt modelId="{93C76FA8-FC7A-44DC-8D83-F4F42F01941B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1" i="0" dirty="0"/>
            <a:t>Vázne koordinace léčby chronických onemocnění </a:t>
          </a:r>
          <a:r>
            <a:rPr lang="cs-CZ" b="0" i="0" dirty="0"/>
            <a:t>(disease management)</a:t>
          </a:r>
          <a:endParaRPr lang="en-US" dirty="0"/>
        </a:p>
      </dgm:t>
    </dgm:pt>
    <dgm:pt modelId="{4A12CF98-2B22-4C69-AB79-3B64754D20B7}" type="parTrans" cxnId="{EF611613-5C84-4093-8E42-B4B78AE1E490}">
      <dgm:prSet/>
      <dgm:spPr/>
      <dgm:t>
        <a:bodyPr/>
        <a:lstStyle/>
        <a:p>
          <a:endParaRPr lang="en-US" sz="800"/>
        </a:p>
      </dgm:t>
    </dgm:pt>
    <dgm:pt modelId="{06A6BC98-9945-46E3-A7A5-0AAE81F36132}" type="sibTrans" cxnId="{EF611613-5C84-4093-8E42-B4B78AE1E490}">
      <dgm:prSet/>
      <dgm:spPr/>
      <dgm:t>
        <a:bodyPr/>
        <a:lstStyle/>
        <a:p>
          <a:endParaRPr lang="en-US"/>
        </a:p>
      </dgm:t>
    </dgm:pt>
    <dgm:pt modelId="{66EA9DD7-82BA-45FF-A8D6-8A5D320A75B9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0" i="0" dirty="0"/>
            <a:t>Kdo je vlastně odpovědný za léčbu nemocí, které mají multiorgánové projevy?</a:t>
          </a:r>
          <a:endParaRPr lang="en-US" dirty="0"/>
        </a:p>
      </dgm:t>
    </dgm:pt>
    <dgm:pt modelId="{7FCF52BD-4D4F-4795-862D-05F2A14A9351}" type="parTrans" cxnId="{8A98F287-57C7-4CE9-934E-3401B86AF5D1}">
      <dgm:prSet/>
      <dgm:spPr/>
      <dgm:t>
        <a:bodyPr/>
        <a:lstStyle/>
        <a:p>
          <a:endParaRPr lang="en-US" sz="800"/>
        </a:p>
      </dgm:t>
    </dgm:pt>
    <dgm:pt modelId="{D15F57CF-6DFC-4CB9-BA6E-F730167BAB3F}" type="sibTrans" cxnId="{8A98F287-57C7-4CE9-934E-3401B86AF5D1}">
      <dgm:prSet/>
      <dgm:spPr/>
      <dgm:t>
        <a:bodyPr/>
        <a:lstStyle/>
        <a:p>
          <a:endParaRPr lang="en-US"/>
        </a:p>
      </dgm:t>
    </dgm:pt>
    <dgm:pt modelId="{05F7ABCE-9AE5-4E53-9D86-3BAB22016B5E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1" i="0" dirty="0"/>
            <a:t>Identifikace lékových interakcí, nežádoucích účinků – role PL</a:t>
          </a:r>
          <a:endParaRPr lang="en-US" dirty="0"/>
        </a:p>
      </dgm:t>
    </dgm:pt>
    <dgm:pt modelId="{EE893816-40A7-4F9E-B5D5-64A6A22B98A9}" type="parTrans" cxnId="{6C579935-E684-46EE-A653-F43B1BDD954B}">
      <dgm:prSet/>
      <dgm:spPr/>
      <dgm:t>
        <a:bodyPr/>
        <a:lstStyle/>
        <a:p>
          <a:endParaRPr lang="en-US" sz="800"/>
        </a:p>
      </dgm:t>
    </dgm:pt>
    <dgm:pt modelId="{F4BA89CC-62CF-485B-A4A4-E0A32BD670E1}" type="sibTrans" cxnId="{6C579935-E684-46EE-A653-F43B1BDD954B}">
      <dgm:prSet/>
      <dgm:spPr/>
      <dgm:t>
        <a:bodyPr/>
        <a:lstStyle/>
        <a:p>
          <a:endParaRPr lang="en-US"/>
        </a:p>
      </dgm:t>
    </dgm:pt>
    <dgm:pt modelId="{587FEF31-2FA7-4854-87F6-7FD6909C54EB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1" i="0" dirty="0"/>
            <a:t>Zbytečné náklady zdravotních pojišťoven</a:t>
          </a:r>
          <a:endParaRPr lang="en-US" dirty="0"/>
        </a:p>
      </dgm:t>
    </dgm:pt>
    <dgm:pt modelId="{6C2E04A9-EE47-4957-B026-794A3960B319}" type="parTrans" cxnId="{A3DA845E-EAC1-4E04-BCB3-0ADAF17B3B1D}">
      <dgm:prSet/>
      <dgm:spPr/>
      <dgm:t>
        <a:bodyPr/>
        <a:lstStyle/>
        <a:p>
          <a:endParaRPr lang="en-US" sz="800"/>
        </a:p>
      </dgm:t>
    </dgm:pt>
    <dgm:pt modelId="{D112F97C-CEAA-4007-A33B-FFB8C74A41FA}" type="sibTrans" cxnId="{A3DA845E-EAC1-4E04-BCB3-0ADAF17B3B1D}">
      <dgm:prSet/>
      <dgm:spPr/>
      <dgm:t>
        <a:bodyPr/>
        <a:lstStyle/>
        <a:p>
          <a:endParaRPr lang="en-US"/>
        </a:p>
      </dgm:t>
    </dgm:pt>
    <dgm:pt modelId="{AF91A6F0-0F23-41EE-ACC1-1938C96EEA3B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0" i="0" dirty="0"/>
            <a:t>Specialista si vykazuje i zbytečná vyšetření, protože za preskripci není úhrada</a:t>
          </a:r>
          <a:endParaRPr lang="en-US" dirty="0"/>
        </a:p>
      </dgm:t>
    </dgm:pt>
    <dgm:pt modelId="{569ED0A8-5CC0-4077-844D-FECF00AC7990}" type="parTrans" cxnId="{69E62CC7-2C31-4382-9D83-FA7264E93486}">
      <dgm:prSet/>
      <dgm:spPr/>
      <dgm:t>
        <a:bodyPr/>
        <a:lstStyle/>
        <a:p>
          <a:endParaRPr lang="en-US" sz="800"/>
        </a:p>
      </dgm:t>
    </dgm:pt>
    <dgm:pt modelId="{2B78093D-8C6F-4A1C-B034-1FC1FF7E4852}" type="sibTrans" cxnId="{69E62CC7-2C31-4382-9D83-FA7264E93486}">
      <dgm:prSet/>
      <dgm:spPr/>
      <dgm:t>
        <a:bodyPr/>
        <a:lstStyle/>
        <a:p>
          <a:endParaRPr lang="en-US"/>
        </a:p>
      </dgm:t>
    </dgm:pt>
    <dgm:pt modelId="{944A4B36-724C-49F8-9150-4F97EB735281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0" i="0" dirty="0"/>
            <a:t>Duplicita vyšetření, plýtvání</a:t>
          </a:r>
          <a:endParaRPr lang="en-US" dirty="0"/>
        </a:p>
      </dgm:t>
    </dgm:pt>
    <dgm:pt modelId="{98FC912F-9889-4029-8FEC-CB9C9584814D}" type="parTrans" cxnId="{286338E6-5658-4F4B-985A-22C62145E486}">
      <dgm:prSet/>
      <dgm:spPr/>
      <dgm:t>
        <a:bodyPr/>
        <a:lstStyle/>
        <a:p>
          <a:endParaRPr lang="en-US" sz="800"/>
        </a:p>
      </dgm:t>
    </dgm:pt>
    <dgm:pt modelId="{D9CAD548-C4F0-4D08-9F7B-BC83CECD8DDD}" type="sibTrans" cxnId="{286338E6-5658-4F4B-985A-22C62145E486}">
      <dgm:prSet/>
      <dgm:spPr/>
      <dgm:t>
        <a:bodyPr/>
        <a:lstStyle/>
        <a:p>
          <a:endParaRPr lang="en-US"/>
        </a:p>
      </dgm:t>
    </dgm:pt>
    <dgm:pt modelId="{EBB8C6E4-9D75-48B6-A118-4252B7DB83D6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0" i="0" dirty="0"/>
            <a:t>Péče u praktického lékaře je pro zdravotní systém levnější </a:t>
          </a:r>
          <a:endParaRPr lang="en-US" dirty="0"/>
        </a:p>
      </dgm:t>
    </dgm:pt>
    <dgm:pt modelId="{FF39320D-72AF-4AA6-9660-08D54353666E}" type="parTrans" cxnId="{E47987F9-DE2C-46A4-9F5D-C87F7669AEB9}">
      <dgm:prSet/>
      <dgm:spPr/>
      <dgm:t>
        <a:bodyPr/>
        <a:lstStyle/>
        <a:p>
          <a:endParaRPr lang="en-US" sz="800"/>
        </a:p>
      </dgm:t>
    </dgm:pt>
    <dgm:pt modelId="{C1825019-7D04-46C5-B22A-450F8725059F}" type="sibTrans" cxnId="{E47987F9-DE2C-46A4-9F5D-C87F7669AEB9}">
      <dgm:prSet/>
      <dgm:spPr/>
      <dgm:t>
        <a:bodyPr/>
        <a:lstStyle/>
        <a:p>
          <a:endParaRPr lang="en-US"/>
        </a:p>
      </dgm:t>
    </dgm:pt>
    <dgm:pt modelId="{63C24260-62AF-488F-A329-77F2609F6156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1" i="0" dirty="0"/>
            <a:t>Zbytečné náklady na straně pacientů</a:t>
          </a:r>
          <a:endParaRPr lang="en-US" dirty="0"/>
        </a:p>
      </dgm:t>
    </dgm:pt>
    <dgm:pt modelId="{9D4F898D-70E0-427C-80CD-2F5EAB612649}" type="parTrans" cxnId="{6A140586-1AD5-4C98-B89E-30A6E80A81BE}">
      <dgm:prSet/>
      <dgm:spPr/>
      <dgm:t>
        <a:bodyPr/>
        <a:lstStyle/>
        <a:p>
          <a:endParaRPr lang="en-US" sz="800"/>
        </a:p>
      </dgm:t>
    </dgm:pt>
    <dgm:pt modelId="{E97769A6-B8A8-4883-B20F-A7E1F6FC3387}" type="sibTrans" cxnId="{6A140586-1AD5-4C98-B89E-30A6E80A81BE}">
      <dgm:prSet/>
      <dgm:spPr/>
      <dgm:t>
        <a:bodyPr/>
        <a:lstStyle/>
        <a:p>
          <a:endParaRPr lang="en-US"/>
        </a:p>
      </dgm:t>
    </dgm:pt>
    <dgm:pt modelId="{F4809EBC-DB4A-45D8-ACBD-9D20C0DA2B80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0" i="0" dirty="0"/>
            <a:t>Dojíždění, pracovní absence</a:t>
          </a:r>
          <a:endParaRPr lang="en-US" dirty="0"/>
        </a:p>
      </dgm:t>
    </dgm:pt>
    <dgm:pt modelId="{B6133140-B7B7-4012-B165-84C1E8453F24}" type="parTrans" cxnId="{D79324BE-538C-41B7-BA41-74F82C507CB4}">
      <dgm:prSet/>
      <dgm:spPr/>
      <dgm:t>
        <a:bodyPr/>
        <a:lstStyle/>
        <a:p>
          <a:endParaRPr lang="en-US" sz="800"/>
        </a:p>
      </dgm:t>
    </dgm:pt>
    <dgm:pt modelId="{24D48652-8770-4676-8D1D-DEF59BCCD341}" type="sibTrans" cxnId="{D79324BE-538C-41B7-BA41-74F82C507CB4}">
      <dgm:prSet/>
      <dgm:spPr/>
      <dgm:t>
        <a:bodyPr/>
        <a:lstStyle/>
        <a:p>
          <a:endParaRPr lang="en-US"/>
        </a:p>
      </dgm:t>
    </dgm:pt>
    <dgm:pt modelId="{BD4A598E-6B7C-42AE-AD94-7BE855DA76EC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0" i="0" dirty="0"/>
            <a:t>Zbytečné návštěvy specialistů pouze kvůli preskripci LP</a:t>
          </a:r>
          <a:endParaRPr lang="en-US" dirty="0"/>
        </a:p>
      </dgm:t>
    </dgm:pt>
    <dgm:pt modelId="{A12EE8FC-18F8-404B-9838-E12201A808F2}" type="parTrans" cxnId="{88E5C2D2-E93F-424A-B93E-4B98D5ECDD77}">
      <dgm:prSet/>
      <dgm:spPr/>
      <dgm:t>
        <a:bodyPr/>
        <a:lstStyle/>
        <a:p>
          <a:endParaRPr lang="en-US" sz="800"/>
        </a:p>
      </dgm:t>
    </dgm:pt>
    <dgm:pt modelId="{4DD428CB-2E85-4E8A-8F31-05A5F5ECA196}" type="sibTrans" cxnId="{88E5C2D2-E93F-424A-B93E-4B98D5ECDD77}">
      <dgm:prSet/>
      <dgm:spPr/>
      <dgm:t>
        <a:bodyPr/>
        <a:lstStyle/>
        <a:p>
          <a:endParaRPr lang="en-US"/>
        </a:p>
      </dgm:t>
    </dgm:pt>
    <dgm:pt modelId="{3E0C843C-6465-4B07-B60C-99D3D4FA5444}">
      <dgm:prSet/>
      <dgm:spPr/>
      <dgm:t>
        <a:bodyPr/>
        <a:lstStyle/>
        <a:p>
          <a:pPr>
            <a:lnSpc>
              <a:spcPct val="100000"/>
            </a:lnSpc>
          </a:pPr>
          <a:r>
            <a:rPr lang="cs-CZ" b="1" i="0" dirty="0"/>
            <a:t>„Vytváříme lékaře různých kategorií“</a:t>
          </a:r>
          <a:endParaRPr lang="en-US" dirty="0"/>
        </a:p>
      </dgm:t>
    </dgm:pt>
    <dgm:pt modelId="{A61BD61D-57B0-4267-9878-A54119F57F75}" type="parTrans" cxnId="{FA3EB739-6891-4115-A5B5-E86C1C6CADEC}">
      <dgm:prSet/>
      <dgm:spPr/>
      <dgm:t>
        <a:bodyPr/>
        <a:lstStyle/>
        <a:p>
          <a:endParaRPr lang="en-US" sz="800"/>
        </a:p>
      </dgm:t>
    </dgm:pt>
    <dgm:pt modelId="{7677B00B-FA73-4CD6-962E-D8DF00631247}" type="sibTrans" cxnId="{FA3EB739-6891-4115-A5B5-E86C1C6CADEC}">
      <dgm:prSet/>
      <dgm:spPr/>
      <dgm:t>
        <a:bodyPr/>
        <a:lstStyle/>
        <a:p>
          <a:endParaRPr lang="en-US"/>
        </a:p>
      </dgm:t>
    </dgm:pt>
    <dgm:pt modelId="{2DA9E2A3-F762-428F-9AB5-10B638313086}" type="pres">
      <dgm:prSet presAssocID="{1225A522-F4DA-4E5A-B1E5-56F7E2528381}" presName="root" presStyleCnt="0">
        <dgm:presLayoutVars>
          <dgm:dir/>
          <dgm:resizeHandles val="exact"/>
        </dgm:presLayoutVars>
      </dgm:prSet>
      <dgm:spPr/>
    </dgm:pt>
    <dgm:pt modelId="{BA22D448-1073-4033-BA4E-4C5F2EAB4D11}" type="pres">
      <dgm:prSet presAssocID="{18E8129E-CEB5-4A46-A3DB-8C86F85D0D92}" presName="compNode" presStyleCnt="0"/>
      <dgm:spPr/>
    </dgm:pt>
    <dgm:pt modelId="{325D49BB-82A9-4DB6-8A0E-14866B23F47C}" type="pres">
      <dgm:prSet presAssocID="{18E8129E-CEB5-4A46-A3DB-8C86F85D0D92}" presName="bgRect" presStyleLbl="bgShp" presStyleIdx="0" presStyleCnt="7"/>
      <dgm:spPr/>
    </dgm:pt>
    <dgm:pt modelId="{ABED3AE7-E50A-4069-A9D7-583CC10D55A5}" type="pres">
      <dgm:prSet presAssocID="{18E8129E-CEB5-4A46-A3DB-8C86F85D0D92}" presName="iconRect" presStyleLbl="node1" presStyleIdx="0" presStyleCnt="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opky"/>
        </a:ext>
      </dgm:extLst>
    </dgm:pt>
    <dgm:pt modelId="{318CEFFF-63EC-4349-9B12-1A3B85732387}" type="pres">
      <dgm:prSet presAssocID="{18E8129E-CEB5-4A46-A3DB-8C86F85D0D92}" presName="spaceRect" presStyleCnt="0"/>
      <dgm:spPr/>
    </dgm:pt>
    <dgm:pt modelId="{334956EF-6EE6-42CD-A459-309E2D4F7BAD}" type="pres">
      <dgm:prSet presAssocID="{18E8129E-CEB5-4A46-A3DB-8C86F85D0D92}" presName="parTx" presStyleLbl="revTx" presStyleIdx="0" presStyleCnt="12">
        <dgm:presLayoutVars>
          <dgm:chMax val="0"/>
          <dgm:chPref val="0"/>
        </dgm:presLayoutVars>
      </dgm:prSet>
      <dgm:spPr/>
    </dgm:pt>
    <dgm:pt modelId="{970B4507-DF95-48AE-9C03-21D50F7E7331}" type="pres">
      <dgm:prSet presAssocID="{18E8129E-CEB5-4A46-A3DB-8C86F85D0D92}" presName="desTx" presStyleLbl="revTx" presStyleIdx="1" presStyleCnt="12">
        <dgm:presLayoutVars/>
      </dgm:prSet>
      <dgm:spPr/>
    </dgm:pt>
    <dgm:pt modelId="{55E239DD-C157-47B4-B8E2-42E760C23C89}" type="pres">
      <dgm:prSet presAssocID="{C1C37C5C-F82B-42E9-9086-30AC7CDF12EE}" presName="sibTrans" presStyleCnt="0"/>
      <dgm:spPr/>
    </dgm:pt>
    <dgm:pt modelId="{E3EE4588-7E14-4336-921E-53C2F659BDB1}" type="pres">
      <dgm:prSet presAssocID="{E138F8B0-5E70-4DBC-AF9A-3F6544621F6C}" presName="compNode" presStyleCnt="0"/>
      <dgm:spPr/>
    </dgm:pt>
    <dgm:pt modelId="{7FA78569-0E2F-4433-B132-93C96D6C5A66}" type="pres">
      <dgm:prSet presAssocID="{E138F8B0-5E70-4DBC-AF9A-3F6544621F6C}" presName="bgRect" presStyleLbl="bgShp" presStyleIdx="1" presStyleCnt="7"/>
      <dgm:spPr/>
    </dgm:pt>
    <dgm:pt modelId="{63BA7C26-6288-424A-B147-BE2ADA3135AB}" type="pres">
      <dgm:prSet presAssocID="{E138F8B0-5E70-4DBC-AF9A-3F6544621F6C}" presName="iconRect" presStyleLbl="node1" presStyleIdx="1" presStyleCnt="7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ozek"/>
        </a:ext>
      </dgm:extLst>
    </dgm:pt>
    <dgm:pt modelId="{AD6427E0-01D2-45E6-AC17-3BFBA648E72E}" type="pres">
      <dgm:prSet presAssocID="{E138F8B0-5E70-4DBC-AF9A-3F6544621F6C}" presName="spaceRect" presStyleCnt="0"/>
      <dgm:spPr/>
    </dgm:pt>
    <dgm:pt modelId="{B35BE58D-FE61-4828-BD91-DC887170218F}" type="pres">
      <dgm:prSet presAssocID="{E138F8B0-5E70-4DBC-AF9A-3F6544621F6C}" presName="parTx" presStyleLbl="revTx" presStyleIdx="2" presStyleCnt="12">
        <dgm:presLayoutVars>
          <dgm:chMax val="0"/>
          <dgm:chPref val="0"/>
        </dgm:presLayoutVars>
      </dgm:prSet>
      <dgm:spPr/>
    </dgm:pt>
    <dgm:pt modelId="{B41B6531-996C-4A34-A454-14BBF271023F}" type="pres">
      <dgm:prSet presAssocID="{E138F8B0-5E70-4DBC-AF9A-3F6544621F6C}" presName="desTx" presStyleLbl="revTx" presStyleIdx="3" presStyleCnt="12">
        <dgm:presLayoutVars/>
      </dgm:prSet>
      <dgm:spPr/>
    </dgm:pt>
    <dgm:pt modelId="{7274E1CA-9AD8-4B1D-AFC8-6B96B770C78C}" type="pres">
      <dgm:prSet presAssocID="{F3D17C18-316B-4A0F-A2A4-9C9313AAA45F}" presName="sibTrans" presStyleCnt="0"/>
      <dgm:spPr/>
    </dgm:pt>
    <dgm:pt modelId="{CA6F557C-D3ED-4651-8E2B-2932B0971A37}" type="pres">
      <dgm:prSet presAssocID="{93C76FA8-FC7A-44DC-8D83-F4F42F01941B}" presName="compNode" presStyleCnt="0"/>
      <dgm:spPr/>
    </dgm:pt>
    <dgm:pt modelId="{4E24C352-3A3D-4926-8770-3E09FA9E3BCC}" type="pres">
      <dgm:prSet presAssocID="{93C76FA8-FC7A-44DC-8D83-F4F42F01941B}" presName="bgRect" presStyleLbl="bgShp" presStyleIdx="2" presStyleCnt="7"/>
      <dgm:spPr/>
    </dgm:pt>
    <dgm:pt modelId="{7E03879D-2AAD-4464-90FD-A0C4DD9EE5D1}" type="pres">
      <dgm:prSet presAssocID="{93C76FA8-FC7A-44DC-8D83-F4F42F01941B}" presName="iconRect" presStyleLbl="node1" presStyleIdx="2" presStyleCnt="7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Otázky"/>
        </a:ext>
      </dgm:extLst>
    </dgm:pt>
    <dgm:pt modelId="{7EFB357C-2BF6-46D9-9348-8B4CA50730D4}" type="pres">
      <dgm:prSet presAssocID="{93C76FA8-FC7A-44DC-8D83-F4F42F01941B}" presName="spaceRect" presStyleCnt="0"/>
      <dgm:spPr/>
    </dgm:pt>
    <dgm:pt modelId="{9E9C7EA7-C5F3-48C4-8632-B414E4F95B21}" type="pres">
      <dgm:prSet presAssocID="{93C76FA8-FC7A-44DC-8D83-F4F42F01941B}" presName="parTx" presStyleLbl="revTx" presStyleIdx="4" presStyleCnt="12">
        <dgm:presLayoutVars>
          <dgm:chMax val="0"/>
          <dgm:chPref val="0"/>
        </dgm:presLayoutVars>
      </dgm:prSet>
      <dgm:spPr/>
    </dgm:pt>
    <dgm:pt modelId="{3606CA7D-B6CD-4E36-A346-E21602E69273}" type="pres">
      <dgm:prSet presAssocID="{93C76FA8-FC7A-44DC-8D83-F4F42F01941B}" presName="desTx" presStyleLbl="revTx" presStyleIdx="5" presStyleCnt="12">
        <dgm:presLayoutVars/>
      </dgm:prSet>
      <dgm:spPr/>
    </dgm:pt>
    <dgm:pt modelId="{D3A1F4C9-414F-42AB-AF04-108CDC256029}" type="pres">
      <dgm:prSet presAssocID="{06A6BC98-9945-46E3-A7A5-0AAE81F36132}" presName="sibTrans" presStyleCnt="0"/>
      <dgm:spPr/>
    </dgm:pt>
    <dgm:pt modelId="{5895858E-2EFE-46D0-8B61-48832E1B517A}" type="pres">
      <dgm:prSet presAssocID="{05F7ABCE-9AE5-4E53-9D86-3BAB22016B5E}" presName="compNode" presStyleCnt="0"/>
      <dgm:spPr/>
    </dgm:pt>
    <dgm:pt modelId="{769D1BA1-051C-42A3-B3DF-EFF212795136}" type="pres">
      <dgm:prSet presAssocID="{05F7ABCE-9AE5-4E53-9D86-3BAB22016B5E}" presName="bgRect" presStyleLbl="bgShp" presStyleIdx="3" presStyleCnt="7"/>
      <dgm:spPr/>
    </dgm:pt>
    <dgm:pt modelId="{BF11D8CB-CBE9-4D1E-B087-D499EABC1F5E}" type="pres">
      <dgm:prSet presAssocID="{05F7ABCE-9AE5-4E53-9D86-3BAB22016B5E}" presName="iconRect" presStyleLbl="node1" presStyleIdx="3" presStyleCnt="7"/>
      <dgm:spPr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Employee Badge"/>
        </a:ext>
      </dgm:extLst>
    </dgm:pt>
    <dgm:pt modelId="{96E78C1E-589C-44F1-A6C9-5EC66CD2BDFC}" type="pres">
      <dgm:prSet presAssocID="{05F7ABCE-9AE5-4E53-9D86-3BAB22016B5E}" presName="spaceRect" presStyleCnt="0"/>
      <dgm:spPr/>
    </dgm:pt>
    <dgm:pt modelId="{2935C115-47CA-4569-BC56-2507569FD3C8}" type="pres">
      <dgm:prSet presAssocID="{05F7ABCE-9AE5-4E53-9D86-3BAB22016B5E}" presName="parTx" presStyleLbl="revTx" presStyleIdx="6" presStyleCnt="12">
        <dgm:presLayoutVars>
          <dgm:chMax val="0"/>
          <dgm:chPref val="0"/>
        </dgm:presLayoutVars>
      </dgm:prSet>
      <dgm:spPr/>
    </dgm:pt>
    <dgm:pt modelId="{D4567C99-C5AD-4085-AE72-8FA550BB3962}" type="pres">
      <dgm:prSet presAssocID="{F4BA89CC-62CF-485B-A4A4-E0A32BD670E1}" presName="sibTrans" presStyleCnt="0"/>
      <dgm:spPr/>
    </dgm:pt>
    <dgm:pt modelId="{765C97A0-DDB7-4B4A-A3C7-748BE719AF1C}" type="pres">
      <dgm:prSet presAssocID="{587FEF31-2FA7-4854-87F6-7FD6909C54EB}" presName="compNode" presStyleCnt="0"/>
      <dgm:spPr/>
    </dgm:pt>
    <dgm:pt modelId="{ECE9D826-3A9B-4438-9DD1-60D9EC6FA2F2}" type="pres">
      <dgm:prSet presAssocID="{587FEF31-2FA7-4854-87F6-7FD6909C54EB}" presName="bgRect" presStyleLbl="bgShp" presStyleIdx="4" presStyleCnt="7"/>
      <dgm:spPr/>
    </dgm:pt>
    <dgm:pt modelId="{C781365E-AB65-466D-ACDE-A98750244075}" type="pres">
      <dgm:prSet presAssocID="{587FEF31-2FA7-4854-87F6-7FD6909C54EB}" presName="iconRect" presStyleLbl="node1" presStyleIdx="4" presStyleCnt="7"/>
      <dgm:spPr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Peníze"/>
        </a:ext>
      </dgm:extLst>
    </dgm:pt>
    <dgm:pt modelId="{C323F181-A77F-4BC6-ADC1-0771C8A6F78C}" type="pres">
      <dgm:prSet presAssocID="{587FEF31-2FA7-4854-87F6-7FD6909C54EB}" presName="spaceRect" presStyleCnt="0"/>
      <dgm:spPr/>
    </dgm:pt>
    <dgm:pt modelId="{2AF0A0A1-A494-4B88-853F-742DE21CD994}" type="pres">
      <dgm:prSet presAssocID="{587FEF31-2FA7-4854-87F6-7FD6909C54EB}" presName="parTx" presStyleLbl="revTx" presStyleIdx="7" presStyleCnt="12">
        <dgm:presLayoutVars>
          <dgm:chMax val="0"/>
          <dgm:chPref val="0"/>
        </dgm:presLayoutVars>
      </dgm:prSet>
      <dgm:spPr/>
    </dgm:pt>
    <dgm:pt modelId="{439F0655-A907-4966-879A-2D6310C2DDE0}" type="pres">
      <dgm:prSet presAssocID="{587FEF31-2FA7-4854-87F6-7FD6909C54EB}" presName="desTx" presStyleLbl="revTx" presStyleIdx="8" presStyleCnt="12">
        <dgm:presLayoutVars/>
      </dgm:prSet>
      <dgm:spPr/>
    </dgm:pt>
    <dgm:pt modelId="{752F34A1-DC8F-4394-9B6C-4DB25466B669}" type="pres">
      <dgm:prSet presAssocID="{D112F97C-CEAA-4007-A33B-FFB8C74A41FA}" presName="sibTrans" presStyleCnt="0"/>
      <dgm:spPr/>
    </dgm:pt>
    <dgm:pt modelId="{BDCD9909-D059-4EC0-BFF7-50C18B710E8C}" type="pres">
      <dgm:prSet presAssocID="{63C24260-62AF-488F-A329-77F2609F6156}" presName="compNode" presStyleCnt="0"/>
      <dgm:spPr/>
    </dgm:pt>
    <dgm:pt modelId="{DD5F27D9-E694-489A-B81C-7B103F5D8552}" type="pres">
      <dgm:prSet presAssocID="{63C24260-62AF-488F-A329-77F2609F6156}" presName="bgRect" presStyleLbl="bgShp" presStyleIdx="5" presStyleCnt="7"/>
      <dgm:spPr/>
    </dgm:pt>
    <dgm:pt modelId="{24B90021-453B-4150-A70B-90B8F0D51EBB}" type="pres">
      <dgm:prSet presAssocID="{63C24260-62AF-488F-A329-77F2609F6156}" presName="iconRect" presStyleLbl="node1" presStyleIdx="5" presStyleCnt="7"/>
      <dgm:spPr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Stetoskop"/>
        </a:ext>
      </dgm:extLst>
    </dgm:pt>
    <dgm:pt modelId="{D4E675CC-08F7-4BC1-8B93-9F2F741C5E4A}" type="pres">
      <dgm:prSet presAssocID="{63C24260-62AF-488F-A329-77F2609F6156}" presName="spaceRect" presStyleCnt="0"/>
      <dgm:spPr/>
    </dgm:pt>
    <dgm:pt modelId="{0BC14EBE-DCD6-4A37-9E9D-D932A997E5A1}" type="pres">
      <dgm:prSet presAssocID="{63C24260-62AF-488F-A329-77F2609F6156}" presName="parTx" presStyleLbl="revTx" presStyleIdx="9" presStyleCnt="12">
        <dgm:presLayoutVars>
          <dgm:chMax val="0"/>
          <dgm:chPref val="0"/>
        </dgm:presLayoutVars>
      </dgm:prSet>
      <dgm:spPr/>
    </dgm:pt>
    <dgm:pt modelId="{187A4EB4-176C-4843-A545-1D383D56FDFC}" type="pres">
      <dgm:prSet presAssocID="{63C24260-62AF-488F-A329-77F2609F6156}" presName="desTx" presStyleLbl="revTx" presStyleIdx="10" presStyleCnt="12">
        <dgm:presLayoutVars/>
      </dgm:prSet>
      <dgm:spPr/>
    </dgm:pt>
    <dgm:pt modelId="{83B261D9-A1A9-422A-A255-F5BCF579E5DC}" type="pres">
      <dgm:prSet presAssocID="{E97769A6-B8A8-4883-B20F-A7E1F6FC3387}" presName="sibTrans" presStyleCnt="0"/>
      <dgm:spPr/>
    </dgm:pt>
    <dgm:pt modelId="{48F932C2-D7DE-48CD-BB2A-6690F39B1CA2}" type="pres">
      <dgm:prSet presAssocID="{3E0C843C-6465-4B07-B60C-99D3D4FA5444}" presName="compNode" presStyleCnt="0"/>
      <dgm:spPr/>
    </dgm:pt>
    <dgm:pt modelId="{56D32BBB-8B09-4851-B85C-1288EF776CA2}" type="pres">
      <dgm:prSet presAssocID="{3E0C843C-6465-4B07-B60C-99D3D4FA5444}" presName="bgRect" presStyleLbl="bgShp" presStyleIdx="6" presStyleCnt="7"/>
      <dgm:spPr/>
    </dgm:pt>
    <dgm:pt modelId="{D5158084-68AF-420C-9CA6-F10283DF5B73}" type="pres">
      <dgm:prSet presAssocID="{3E0C843C-6465-4B07-B60C-99D3D4FA5444}" presName="iconRect" presStyleLbl="node1" presStyleIdx="6" presStyleCnt="7"/>
      <dgm:spPr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First Aid Kit"/>
        </a:ext>
      </dgm:extLst>
    </dgm:pt>
    <dgm:pt modelId="{BE36332B-8E88-47A9-9C46-E6811C398224}" type="pres">
      <dgm:prSet presAssocID="{3E0C843C-6465-4B07-B60C-99D3D4FA5444}" presName="spaceRect" presStyleCnt="0"/>
      <dgm:spPr/>
    </dgm:pt>
    <dgm:pt modelId="{EBC596F9-5E25-4AB8-BAFA-8460F9D1375C}" type="pres">
      <dgm:prSet presAssocID="{3E0C843C-6465-4B07-B60C-99D3D4FA5444}" presName="parTx" presStyleLbl="revTx" presStyleIdx="11" presStyleCnt="12">
        <dgm:presLayoutVars>
          <dgm:chMax val="0"/>
          <dgm:chPref val="0"/>
        </dgm:presLayoutVars>
      </dgm:prSet>
      <dgm:spPr/>
    </dgm:pt>
  </dgm:ptLst>
  <dgm:cxnLst>
    <dgm:cxn modelId="{2B73B60E-4148-1A43-A049-3D73AE2170F0}" type="presOf" srcId="{7E74A961-AD2F-4823-8E26-85888D184C4A}" destId="{970B4507-DF95-48AE-9C03-21D50F7E7331}" srcOrd="0" destOrd="0" presId="urn:microsoft.com/office/officeart/2018/2/layout/IconVerticalSolidList"/>
    <dgm:cxn modelId="{EF611613-5C84-4093-8E42-B4B78AE1E490}" srcId="{1225A522-F4DA-4E5A-B1E5-56F7E2528381}" destId="{93C76FA8-FC7A-44DC-8D83-F4F42F01941B}" srcOrd="2" destOrd="0" parTransId="{4A12CF98-2B22-4C69-AB79-3B64754D20B7}" sibTransId="{06A6BC98-9945-46E3-A7A5-0AAE81F36132}"/>
    <dgm:cxn modelId="{BDDDEB15-27A9-4FA3-894E-E30AFC10A39B}" srcId="{E138F8B0-5E70-4DBC-AF9A-3F6544621F6C}" destId="{246BD4F0-9124-4608-8BEC-D9599EFF34D1}" srcOrd="1" destOrd="0" parTransId="{9E3BA02A-89F4-4A46-8B76-A5DC40310A33}" sibTransId="{D8C8E2FE-500C-4828-BEEC-F73DFA2734DD}"/>
    <dgm:cxn modelId="{A775F216-F940-40B6-8DE8-142CBCD5D5D2}" srcId="{E138F8B0-5E70-4DBC-AF9A-3F6544621F6C}" destId="{42644D9E-7601-4650-A22B-4CB4C579CA7E}" srcOrd="0" destOrd="0" parTransId="{C28C27F5-C4DC-4A55-85DF-55FEA0675EFC}" sibTransId="{B7CEE96D-62B9-49D6-8A1D-5D31830AEE41}"/>
    <dgm:cxn modelId="{631A7530-CFF5-ED47-AA7B-3AEAFB65D4D6}" type="presOf" srcId="{63C24260-62AF-488F-A329-77F2609F6156}" destId="{0BC14EBE-DCD6-4A37-9E9D-D932A997E5A1}" srcOrd="0" destOrd="0" presId="urn:microsoft.com/office/officeart/2018/2/layout/IconVerticalSolidList"/>
    <dgm:cxn modelId="{6C579935-E684-46EE-A653-F43B1BDD954B}" srcId="{1225A522-F4DA-4E5A-B1E5-56F7E2528381}" destId="{05F7ABCE-9AE5-4E53-9D86-3BAB22016B5E}" srcOrd="3" destOrd="0" parTransId="{EE893816-40A7-4F9E-B5D5-64A6A22B98A9}" sibTransId="{F4BA89CC-62CF-485B-A4A4-E0A32BD670E1}"/>
    <dgm:cxn modelId="{6DEEF638-F949-4C4F-8F7C-0576D8883A3D}" type="presOf" srcId="{F4809EBC-DB4A-45D8-ACBD-9D20C0DA2B80}" destId="{187A4EB4-176C-4843-A545-1D383D56FDFC}" srcOrd="0" destOrd="0" presId="urn:microsoft.com/office/officeart/2018/2/layout/IconVerticalSolidList"/>
    <dgm:cxn modelId="{FA3EB739-6891-4115-A5B5-E86C1C6CADEC}" srcId="{1225A522-F4DA-4E5A-B1E5-56F7E2528381}" destId="{3E0C843C-6465-4B07-B60C-99D3D4FA5444}" srcOrd="6" destOrd="0" parTransId="{A61BD61D-57B0-4267-9878-A54119F57F75}" sibTransId="{7677B00B-FA73-4CD6-962E-D8DF00631247}"/>
    <dgm:cxn modelId="{D8626041-79DD-4F05-AE83-947E1FD3397C}" srcId="{1225A522-F4DA-4E5A-B1E5-56F7E2528381}" destId="{E138F8B0-5E70-4DBC-AF9A-3F6544621F6C}" srcOrd="1" destOrd="0" parTransId="{B98D7DBD-7785-4DAA-8A17-51EAD3CA1B6D}" sibTransId="{F3D17C18-316B-4A0F-A2A4-9C9313AAA45F}"/>
    <dgm:cxn modelId="{AEEFC245-CCA5-E948-A849-2A5C2B9FF780}" type="presOf" srcId="{944A4B36-724C-49F8-9150-4F97EB735281}" destId="{439F0655-A907-4966-879A-2D6310C2DDE0}" srcOrd="0" destOrd="1" presId="urn:microsoft.com/office/officeart/2018/2/layout/IconVerticalSolidList"/>
    <dgm:cxn modelId="{DFB4BD50-CAE0-4C8B-BF65-259A69E529F7}" srcId="{1225A522-F4DA-4E5A-B1E5-56F7E2528381}" destId="{18E8129E-CEB5-4A46-A3DB-8C86F85D0D92}" srcOrd="0" destOrd="0" parTransId="{24CF11F8-DA9E-4A44-97DE-38EED1E1D23C}" sibTransId="{C1C37C5C-F82B-42E9-9086-30AC7CDF12EE}"/>
    <dgm:cxn modelId="{A3DA845E-EAC1-4E04-BCB3-0ADAF17B3B1D}" srcId="{1225A522-F4DA-4E5A-B1E5-56F7E2528381}" destId="{587FEF31-2FA7-4854-87F6-7FD6909C54EB}" srcOrd="4" destOrd="0" parTransId="{6C2E04A9-EE47-4957-B026-794A3960B319}" sibTransId="{D112F97C-CEAA-4007-A33B-FFB8C74A41FA}"/>
    <dgm:cxn modelId="{8983FE5F-EA74-6F42-98CE-71532D9D5826}" type="presOf" srcId="{EBB8C6E4-9D75-48B6-A118-4252B7DB83D6}" destId="{439F0655-A907-4966-879A-2D6310C2DDE0}" srcOrd="0" destOrd="2" presId="urn:microsoft.com/office/officeart/2018/2/layout/IconVerticalSolidList"/>
    <dgm:cxn modelId="{47E72468-A383-2D48-99E8-21602C35E857}" type="presOf" srcId="{BD4A598E-6B7C-42AE-AD94-7BE855DA76EC}" destId="{187A4EB4-176C-4843-A545-1D383D56FDFC}" srcOrd="0" destOrd="1" presId="urn:microsoft.com/office/officeart/2018/2/layout/IconVerticalSolidList"/>
    <dgm:cxn modelId="{377EB16D-5708-3A48-A9F7-40856D53A2D5}" type="presOf" srcId="{66EA9DD7-82BA-45FF-A8D6-8A5D320A75B9}" destId="{3606CA7D-B6CD-4E36-A346-E21602E69273}" srcOrd="0" destOrd="0" presId="urn:microsoft.com/office/officeart/2018/2/layout/IconVerticalSolidList"/>
    <dgm:cxn modelId="{B8A3846F-EDD9-4C44-9538-38CB81682DE5}" type="presOf" srcId="{F63DD8C8-FA5A-4F26-9220-5C9A781943CE}" destId="{970B4507-DF95-48AE-9C03-21D50F7E7331}" srcOrd="0" destOrd="1" presId="urn:microsoft.com/office/officeart/2018/2/layout/IconVerticalSolidList"/>
    <dgm:cxn modelId="{B6744C70-A24C-49FF-A0D2-13B3D5DABE00}" srcId="{18E8129E-CEB5-4A46-A3DB-8C86F85D0D92}" destId="{F63DD8C8-FA5A-4F26-9220-5C9A781943CE}" srcOrd="1" destOrd="0" parTransId="{CD7EFC80-7E1E-44DB-A3E7-47D712C9C8FC}" sibTransId="{4A12C829-B556-4E72-BB22-02D909D0B79C}"/>
    <dgm:cxn modelId="{110F047A-ED74-1445-A63B-4ACA7AD0B30C}" type="presOf" srcId="{18E8129E-CEB5-4A46-A3DB-8C86F85D0D92}" destId="{334956EF-6EE6-42CD-A459-309E2D4F7BAD}" srcOrd="0" destOrd="0" presId="urn:microsoft.com/office/officeart/2018/2/layout/IconVerticalSolidList"/>
    <dgm:cxn modelId="{A99FA67A-EFBA-AB41-9040-85972E627CD2}" type="presOf" srcId="{587FEF31-2FA7-4854-87F6-7FD6909C54EB}" destId="{2AF0A0A1-A494-4B88-853F-742DE21CD994}" srcOrd="0" destOrd="0" presId="urn:microsoft.com/office/officeart/2018/2/layout/IconVerticalSolidList"/>
    <dgm:cxn modelId="{08C5AE7D-ECFD-4E8F-AA12-D3A5807A63E1}" srcId="{18E8129E-CEB5-4A46-A3DB-8C86F85D0D92}" destId="{7E74A961-AD2F-4823-8E26-85888D184C4A}" srcOrd="0" destOrd="0" parTransId="{87831F06-E35A-425B-A567-53FEA6F8823C}" sibTransId="{A414390A-E0D2-46C3-AF05-301E515569A1}"/>
    <dgm:cxn modelId="{6A140586-1AD5-4C98-B89E-30A6E80A81BE}" srcId="{1225A522-F4DA-4E5A-B1E5-56F7E2528381}" destId="{63C24260-62AF-488F-A329-77F2609F6156}" srcOrd="5" destOrd="0" parTransId="{9D4F898D-70E0-427C-80CD-2F5EAB612649}" sibTransId="{E97769A6-B8A8-4883-B20F-A7E1F6FC3387}"/>
    <dgm:cxn modelId="{8A98F287-57C7-4CE9-934E-3401B86AF5D1}" srcId="{93C76FA8-FC7A-44DC-8D83-F4F42F01941B}" destId="{66EA9DD7-82BA-45FF-A8D6-8A5D320A75B9}" srcOrd="0" destOrd="0" parTransId="{7FCF52BD-4D4F-4795-862D-05F2A14A9351}" sibTransId="{D15F57CF-6DFC-4CB9-BA6E-F730167BAB3F}"/>
    <dgm:cxn modelId="{6BB7B695-E0F8-134D-BB9D-F71C519C0AF3}" type="presOf" srcId="{1225A522-F4DA-4E5A-B1E5-56F7E2528381}" destId="{2DA9E2A3-F762-428F-9AB5-10B638313086}" srcOrd="0" destOrd="0" presId="urn:microsoft.com/office/officeart/2018/2/layout/IconVerticalSolidList"/>
    <dgm:cxn modelId="{610A5CA6-0BD1-A84F-B21C-75686CA15299}" type="presOf" srcId="{42644D9E-7601-4650-A22B-4CB4C579CA7E}" destId="{B41B6531-996C-4A34-A454-14BBF271023F}" srcOrd="0" destOrd="0" presId="urn:microsoft.com/office/officeart/2018/2/layout/IconVerticalSolidList"/>
    <dgm:cxn modelId="{E1FFF1AA-E168-3F47-A411-A158EB3792CB}" type="presOf" srcId="{246BD4F0-9124-4608-8BEC-D9599EFF34D1}" destId="{B41B6531-996C-4A34-A454-14BBF271023F}" srcOrd="0" destOrd="1" presId="urn:microsoft.com/office/officeart/2018/2/layout/IconVerticalSolidList"/>
    <dgm:cxn modelId="{755B2BBB-0DD6-9D4B-A2C4-F44D244BFA81}" type="presOf" srcId="{3E0C843C-6465-4B07-B60C-99D3D4FA5444}" destId="{EBC596F9-5E25-4AB8-BAFA-8460F9D1375C}" srcOrd="0" destOrd="0" presId="urn:microsoft.com/office/officeart/2018/2/layout/IconVerticalSolidList"/>
    <dgm:cxn modelId="{D79324BE-538C-41B7-BA41-74F82C507CB4}" srcId="{63C24260-62AF-488F-A329-77F2609F6156}" destId="{F4809EBC-DB4A-45D8-ACBD-9D20C0DA2B80}" srcOrd="0" destOrd="0" parTransId="{B6133140-B7B7-4012-B165-84C1E8453F24}" sibTransId="{24D48652-8770-4676-8D1D-DEF59BCCD341}"/>
    <dgm:cxn modelId="{69937CBF-647D-EA46-927A-41884847A4EB}" type="presOf" srcId="{93C76FA8-FC7A-44DC-8D83-F4F42F01941B}" destId="{9E9C7EA7-C5F3-48C4-8632-B414E4F95B21}" srcOrd="0" destOrd="0" presId="urn:microsoft.com/office/officeart/2018/2/layout/IconVerticalSolidList"/>
    <dgm:cxn modelId="{69E62CC7-2C31-4382-9D83-FA7264E93486}" srcId="{587FEF31-2FA7-4854-87F6-7FD6909C54EB}" destId="{AF91A6F0-0F23-41EE-ACC1-1938C96EEA3B}" srcOrd="0" destOrd="0" parTransId="{569ED0A8-5CC0-4077-844D-FECF00AC7990}" sibTransId="{2B78093D-8C6F-4A1C-B034-1FC1FF7E4852}"/>
    <dgm:cxn modelId="{9C3F50D0-CF65-D246-8930-8398049EE57E}" type="presOf" srcId="{05F7ABCE-9AE5-4E53-9D86-3BAB22016B5E}" destId="{2935C115-47CA-4569-BC56-2507569FD3C8}" srcOrd="0" destOrd="0" presId="urn:microsoft.com/office/officeart/2018/2/layout/IconVerticalSolidList"/>
    <dgm:cxn modelId="{88E5C2D2-E93F-424A-B93E-4B98D5ECDD77}" srcId="{63C24260-62AF-488F-A329-77F2609F6156}" destId="{BD4A598E-6B7C-42AE-AD94-7BE855DA76EC}" srcOrd="1" destOrd="0" parTransId="{A12EE8FC-18F8-404B-9838-E12201A808F2}" sibTransId="{4DD428CB-2E85-4E8A-8F31-05A5F5ECA196}"/>
    <dgm:cxn modelId="{362994D5-B6AC-6345-88BA-CE216843009A}" type="presOf" srcId="{E138F8B0-5E70-4DBC-AF9A-3F6544621F6C}" destId="{B35BE58D-FE61-4828-BD91-DC887170218F}" srcOrd="0" destOrd="0" presId="urn:microsoft.com/office/officeart/2018/2/layout/IconVerticalSolidList"/>
    <dgm:cxn modelId="{286338E6-5658-4F4B-985A-22C62145E486}" srcId="{587FEF31-2FA7-4854-87F6-7FD6909C54EB}" destId="{944A4B36-724C-49F8-9150-4F97EB735281}" srcOrd="1" destOrd="0" parTransId="{98FC912F-9889-4029-8FEC-CB9C9584814D}" sibTransId="{D9CAD548-C4F0-4D08-9F7B-BC83CECD8DDD}"/>
    <dgm:cxn modelId="{197C23EB-FEEC-7E40-8D43-5A62138C005A}" type="presOf" srcId="{AF91A6F0-0F23-41EE-ACC1-1938C96EEA3B}" destId="{439F0655-A907-4966-879A-2D6310C2DDE0}" srcOrd="0" destOrd="0" presId="urn:microsoft.com/office/officeart/2018/2/layout/IconVerticalSolidList"/>
    <dgm:cxn modelId="{E47987F9-DE2C-46A4-9F5D-C87F7669AEB9}" srcId="{587FEF31-2FA7-4854-87F6-7FD6909C54EB}" destId="{EBB8C6E4-9D75-48B6-A118-4252B7DB83D6}" srcOrd="2" destOrd="0" parTransId="{FF39320D-72AF-4AA6-9660-08D54353666E}" sibTransId="{C1825019-7D04-46C5-B22A-450F8725059F}"/>
    <dgm:cxn modelId="{57E1C752-FA47-9B4C-AB05-6F8F9EABE490}" type="presParOf" srcId="{2DA9E2A3-F762-428F-9AB5-10B638313086}" destId="{BA22D448-1073-4033-BA4E-4C5F2EAB4D11}" srcOrd="0" destOrd="0" presId="urn:microsoft.com/office/officeart/2018/2/layout/IconVerticalSolidList"/>
    <dgm:cxn modelId="{F6EFB91A-D6E7-DD4B-A1A8-495C4DD9794C}" type="presParOf" srcId="{BA22D448-1073-4033-BA4E-4C5F2EAB4D11}" destId="{325D49BB-82A9-4DB6-8A0E-14866B23F47C}" srcOrd="0" destOrd="0" presId="urn:microsoft.com/office/officeart/2018/2/layout/IconVerticalSolidList"/>
    <dgm:cxn modelId="{041DF6F7-3D35-7D46-9F4E-4700F2A8B437}" type="presParOf" srcId="{BA22D448-1073-4033-BA4E-4C5F2EAB4D11}" destId="{ABED3AE7-E50A-4069-A9D7-583CC10D55A5}" srcOrd="1" destOrd="0" presId="urn:microsoft.com/office/officeart/2018/2/layout/IconVerticalSolidList"/>
    <dgm:cxn modelId="{654AB0DB-E770-AC49-B588-4068F0909F94}" type="presParOf" srcId="{BA22D448-1073-4033-BA4E-4C5F2EAB4D11}" destId="{318CEFFF-63EC-4349-9B12-1A3B85732387}" srcOrd="2" destOrd="0" presId="urn:microsoft.com/office/officeart/2018/2/layout/IconVerticalSolidList"/>
    <dgm:cxn modelId="{9450F76C-59EB-F64A-A208-82DCBED3FD1E}" type="presParOf" srcId="{BA22D448-1073-4033-BA4E-4C5F2EAB4D11}" destId="{334956EF-6EE6-42CD-A459-309E2D4F7BAD}" srcOrd="3" destOrd="0" presId="urn:microsoft.com/office/officeart/2018/2/layout/IconVerticalSolidList"/>
    <dgm:cxn modelId="{01E8C51F-07C1-6D4B-A07D-37E1FC485DF6}" type="presParOf" srcId="{BA22D448-1073-4033-BA4E-4C5F2EAB4D11}" destId="{970B4507-DF95-48AE-9C03-21D50F7E7331}" srcOrd="4" destOrd="0" presId="urn:microsoft.com/office/officeart/2018/2/layout/IconVerticalSolidList"/>
    <dgm:cxn modelId="{72D12988-2969-2F41-AFC8-223A872F02BA}" type="presParOf" srcId="{2DA9E2A3-F762-428F-9AB5-10B638313086}" destId="{55E239DD-C157-47B4-B8E2-42E760C23C89}" srcOrd="1" destOrd="0" presId="urn:microsoft.com/office/officeart/2018/2/layout/IconVerticalSolidList"/>
    <dgm:cxn modelId="{97A37D21-30C5-C04D-BB07-D13F7F9D444C}" type="presParOf" srcId="{2DA9E2A3-F762-428F-9AB5-10B638313086}" destId="{E3EE4588-7E14-4336-921E-53C2F659BDB1}" srcOrd="2" destOrd="0" presId="urn:microsoft.com/office/officeart/2018/2/layout/IconVerticalSolidList"/>
    <dgm:cxn modelId="{37C2F663-7EF4-C941-AF1B-D975701D8E8B}" type="presParOf" srcId="{E3EE4588-7E14-4336-921E-53C2F659BDB1}" destId="{7FA78569-0E2F-4433-B132-93C96D6C5A66}" srcOrd="0" destOrd="0" presId="urn:microsoft.com/office/officeart/2018/2/layout/IconVerticalSolidList"/>
    <dgm:cxn modelId="{E9288E20-D0CA-0C4D-8285-F8881275A378}" type="presParOf" srcId="{E3EE4588-7E14-4336-921E-53C2F659BDB1}" destId="{63BA7C26-6288-424A-B147-BE2ADA3135AB}" srcOrd="1" destOrd="0" presId="urn:microsoft.com/office/officeart/2018/2/layout/IconVerticalSolidList"/>
    <dgm:cxn modelId="{217D021F-67B2-A34D-95E1-D57F4B339474}" type="presParOf" srcId="{E3EE4588-7E14-4336-921E-53C2F659BDB1}" destId="{AD6427E0-01D2-45E6-AC17-3BFBA648E72E}" srcOrd="2" destOrd="0" presId="urn:microsoft.com/office/officeart/2018/2/layout/IconVerticalSolidList"/>
    <dgm:cxn modelId="{8ED5FB82-C261-944E-A21B-78E1DBA800B1}" type="presParOf" srcId="{E3EE4588-7E14-4336-921E-53C2F659BDB1}" destId="{B35BE58D-FE61-4828-BD91-DC887170218F}" srcOrd="3" destOrd="0" presId="urn:microsoft.com/office/officeart/2018/2/layout/IconVerticalSolidList"/>
    <dgm:cxn modelId="{FCE8DAE2-4644-7243-9E8F-805CBB4A59E4}" type="presParOf" srcId="{E3EE4588-7E14-4336-921E-53C2F659BDB1}" destId="{B41B6531-996C-4A34-A454-14BBF271023F}" srcOrd="4" destOrd="0" presId="urn:microsoft.com/office/officeart/2018/2/layout/IconVerticalSolidList"/>
    <dgm:cxn modelId="{A13A08EA-8B7E-3242-BAD6-6F459F78EEB8}" type="presParOf" srcId="{2DA9E2A3-F762-428F-9AB5-10B638313086}" destId="{7274E1CA-9AD8-4B1D-AFC8-6B96B770C78C}" srcOrd="3" destOrd="0" presId="urn:microsoft.com/office/officeart/2018/2/layout/IconVerticalSolidList"/>
    <dgm:cxn modelId="{1D696C40-4845-424D-8A50-442E19F526F2}" type="presParOf" srcId="{2DA9E2A3-F762-428F-9AB5-10B638313086}" destId="{CA6F557C-D3ED-4651-8E2B-2932B0971A37}" srcOrd="4" destOrd="0" presId="urn:microsoft.com/office/officeart/2018/2/layout/IconVerticalSolidList"/>
    <dgm:cxn modelId="{C8A35612-C6E9-0641-A627-ED3ECCB1D842}" type="presParOf" srcId="{CA6F557C-D3ED-4651-8E2B-2932B0971A37}" destId="{4E24C352-3A3D-4926-8770-3E09FA9E3BCC}" srcOrd="0" destOrd="0" presId="urn:microsoft.com/office/officeart/2018/2/layout/IconVerticalSolidList"/>
    <dgm:cxn modelId="{03A27C20-83C8-D743-A44B-0A122AD01F08}" type="presParOf" srcId="{CA6F557C-D3ED-4651-8E2B-2932B0971A37}" destId="{7E03879D-2AAD-4464-90FD-A0C4DD9EE5D1}" srcOrd="1" destOrd="0" presId="urn:microsoft.com/office/officeart/2018/2/layout/IconVerticalSolidList"/>
    <dgm:cxn modelId="{0143692E-4E9A-C64B-88AC-41990A564298}" type="presParOf" srcId="{CA6F557C-D3ED-4651-8E2B-2932B0971A37}" destId="{7EFB357C-2BF6-46D9-9348-8B4CA50730D4}" srcOrd="2" destOrd="0" presId="urn:microsoft.com/office/officeart/2018/2/layout/IconVerticalSolidList"/>
    <dgm:cxn modelId="{9422CCCC-80FC-DD48-A502-6E4C818C4288}" type="presParOf" srcId="{CA6F557C-D3ED-4651-8E2B-2932B0971A37}" destId="{9E9C7EA7-C5F3-48C4-8632-B414E4F95B21}" srcOrd="3" destOrd="0" presId="urn:microsoft.com/office/officeart/2018/2/layout/IconVerticalSolidList"/>
    <dgm:cxn modelId="{B7639DB2-0EF3-B34B-B2F8-B847396B90CA}" type="presParOf" srcId="{CA6F557C-D3ED-4651-8E2B-2932B0971A37}" destId="{3606CA7D-B6CD-4E36-A346-E21602E69273}" srcOrd="4" destOrd="0" presId="urn:microsoft.com/office/officeart/2018/2/layout/IconVerticalSolidList"/>
    <dgm:cxn modelId="{04E6458F-29FD-A84B-BEF7-51F7E4BA3DDF}" type="presParOf" srcId="{2DA9E2A3-F762-428F-9AB5-10B638313086}" destId="{D3A1F4C9-414F-42AB-AF04-108CDC256029}" srcOrd="5" destOrd="0" presId="urn:microsoft.com/office/officeart/2018/2/layout/IconVerticalSolidList"/>
    <dgm:cxn modelId="{9C55C4AF-7925-E04B-BBD5-0581066057A4}" type="presParOf" srcId="{2DA9E2A3-F762-428F-9AB5-10B638313086}" destId="{5895858E-2EFE-46D0-8B61-48832E1B517A}" srcOrd="6" destOrd="0" presId="urn:microsoft.com/office/officeart/2018/2/layout/IconVerticalSolidList"/>
    <dgm:cxn modelId="{44F2777E-8295-C04A-A048-81A8C3D1E132}" type="presParOf" srcId="{5895858E-2EFE-46D0-8B61-48832E1B517A}" destId="{769D1BA1-051C-42A3-B3DF-EFF212795136}" srcOrd="0" destOrd="0" presId="urn:microsoft.com/office/officeart/2018/2/layout/IconVerticalSolidList"/>
    <dgm:cxn modelId="{ED80524A-FEF7-E347-BD4B-FB6E58975C4E}" type="presParOf" srcId="{5895858E-2EFE-46D0-8B61-48832E1B517A}" destId="{BF11D8CB-CBE9-4D1E-B087-D499EABC1F5E}" srcOrd="1" destOrd="0" presId="urn:microsoft.com/office/officeart/2018/2/layout/IconVerticalSolidList"/>
    <dgm:cxn modelId="{44A7DE51-6A77-7849-B3E3-4092CD327BFF}" type="presParOf" srcId="{5895858E-2EFE-46D0-8B61-48832E1B517A}" destId="{96E78C1E-589C-44F1-A6C9-5EC66CD2BDFC}" srcOrd="2" destOrd="0" presId="urn:microsoft.com/office/officeart/2018/2/layout/IconVerticalSolidList"/>
    <dgm:cxn modelId="{9D7665C3-85DB-5142-AC3A-2FBD273A0FF8}" type="presParOf" srcId="{5895858E-2EFE-46D0-8B61-48832E1B517A}" destId="{2935C115-47CA-4569-BC56-2507569FD3C8}" srcOrd="3" destOrd="0" presId="urn:microsoft.com/office/officeart/2018/2/layout/IconVerticalSolidList"/>
    <dgm:cxn modelId="{E0C950D4-F26A-6D4F-979D-65134D7C7F44}" type="presParOf" srcId="{2DA9E2A3-F762-428F-9AB5-10B638313086}" destId="{D4567C99-C5AD-4085-AE72-8FA550BB3962}" srcOrd="7" destOrd="0" presId="urn:microsoft.com/office/officeart/2018/2/layout/IconVerticalSolidList"/>
    <dgm:cxn modelId="{4CFF4D80-BBFE-434E-932F-90143C03B376}" type="presParOf" srcId="{2DA9E2A3-F762-428F-9AB5-10B638313086}" destId="{765C97A0-DDB7-4B4A-A3C7-748BE719AF1C}" srcOrd="8" destOrd="0" presId="urn:microsoft.com/office/officeart/2018/2/layout/IconVerticalSolidList"/>
    <dgm:cxn modelId="{7538477E-07A0-8C41-8F08-6B278EBB85C3}" type="presParOf" srcId="{765C97A0-DDB7-4B4A-A3C7-748BE719AF1C}" destId="{ECE9D826-3A9B-4438-9DD1-60D9EC6FA2F2}" srcOrd="0" destOrd="0" presId="urn:microsoft.com/office/officeart/2018/2/layout/IconVerticalSolidList"/>
    <dgm:cxn modelId="{1C19B808-F538-1642-8CCA-142B48F45A02}" type="presParOf" srcId="{765C97A0-DDB7-4B4A-A3C7-748BE719AF1C}" destId="{C781365E-AB65-466D-ACDE-A98750244075}" srcOrd="1" destOrd="0" presId="urn:microsoft.com/office/officeart/2018/2/layout/IconVerticalSolidList"/>
    <dgm:cxn modelId="{13611A61-70CE-DC4F-BAFB-073D1CC99634}" type="presParOf" srcId="{765C97A0-DDB7-4B4A-A3C7-748BE719AF1C}" destId="{C323F181-A77F-4BC6-ADC1-0771C8A6F78C}" srcOrd="2" destOrd="0" presId="urn:microsoft.com/office/officeart/2018/2/layout/IconVerticalSolidList"/>
    <dgm:cxn modelId="{93449521-C9DA-494B-B023-FDBE94E9ADBA}" type="presParOf" srcId="{765C97A0-DDB7-4B4A-A3C7-748BE719AF1C}" destId="{2AF0A0A1-A494-4B88-853F-742DE21CD994}" srcOrd="3" destOrd="0" presId="urn:microsoft.com/office/officeart/2018/2/layout/IconVerticalSolidList"/>
    <dgm:cxn modelId="{65A83C91-BF38-8545-BD48-72BCE9FCFF39}" type="presParOf" srcId="{765C97A0-DDB7-4B4A-A3C7-748BE719AF1C}" destId="{439F0655-A907-4966-879A-2D6310C2DDE0}" srcOrd="4" destOrd="0" presId="urn:microsoft.com/office/officeart/2018/2/layout/IconVerticalSolidList"/>
    <dgm:cxn modelId="{A1226FA8-8D13-7D43-BC35-01D815778A55}" type="presParOf" srcId="{2DA9E2A3-F762-428F-9AB5-10B638313086}" destId="{752F34A1-DC8F-4394-9B6C-4DB25466B669}" srcOrd="9" destOrd="0" presId="urn:microsoft.com/office/officeart/2018/2/layout/IconVerticalSolidList"/>
    <dgm:cxn modelId="{D9738C4B-7F94-8744-97BF-9E9517E4B75D}" type="presParOf" srcId="{2DA9E2A3-F762-428F-9AB5-10B638313086}" destId="{BDCD9909-D059-4EC0-BFF7-50C18B710E8C}" srcOrd="10" destOrd="0" presId="urn:microsoft.com/office/officeart/2018/2/layout/IconVerticalSolidList"/>
    <dgm:cxn modelId="{3C8CD648-8809-9C43-98F0-B203743C66CE}" type="presParOf" srcId="{BDCD9909-D059-4EC0-BFF7-50C18B710E8C}" destId="{DD5F27D9-E694-489A-B81C-7B103F5D8552}" srcOrd="0" destOrd="0" presId="urn:microsoft.com/office/officeart/2018/2/layout/IconVerticalSolidList"/>
    <dgm:cxn modelId="{6EEEA7D3-265E-1C45-B375-5695657AF46B}" type="presParOf" srcId="{BDCD9909-D059-4EC0-BFF7-50C18B710E8C}" destId="{24B90021-453B-4150-A70B-90B8F0D51EBB}" srcOrd="1" destOrd="0" presId="urn:microsoft.com/office/officeart/2018/2/layout/IconVerticalSolidList"/>
    <dgm:cxn modelId="{0A8F0901-0748-3149-9C8F-C3355A42598B}" type="presParOf" srcId="{BDCD9909-D059-4EC0-BFF7-50C18B710E8C}" destId="{D4E675CC-08F7-4BC1-8B93-9F2F741C5E4A}" srcOrd="2" destOrd="0" presId="urn:microsoft.com/office/officeart/2018/2/layout/IconVerticalSolidList"/>
    <dgm:cxn modelId="{CA2F71FD-2685-3249-9E2C-25E23F07787C}" type="presParOf" srcId="{BDCD9909-D059-4EC0-BFF7-50C18B710E8C}" destId="{0BC14EBE-DCD6-4A37-9E9D-D932A997E5A1}" srcOrd="3" destOrd="0" presId="urn:microsoft.com/office/officeart/2018/2/layout/IconVerticalSolidList"/>
    <dgm:cxn modelId="{1AA0B3C1-022D-F047-A311-7B7700F9D508}" type="presParOf" srcId="{BDCD9909-D059-4EC0-BFF7-50C18B710E8C}" destId="{187A4EB4-176C-4843-A545-1D383D56FDFC}" srcOrd="4" destOrd="0" presId="urn:microsoft.com/office/officeart/2018/2/layout/IconVerticalSolidList"/>
    <dgm:cxn modelId="{8F77A4D1-A38A-DE43-B45D-A6B7417AE863}" type="presParOf" srcId="{2DA9E2A3-F762-428F-9AB5-10B638313086}" destId="{83B261D9-A1A9-422A-A255-F5BCF579E5DC}" srcOrd="11" destOrd="0" presId="urn:microsoft.com/office/officeart/2018/2/layout/IconVerticalSolidList"/>
    <dgm:cxn modelId="{B27F3DA7-7B5E-F247-8353-C552BA26DF64}" type="presParOf" srcId="{2DA9E2A3-F762-428F-9AB5-10B638313086}" destId="{48F932C2-D7DE-48CD-BB2A-6690F39B1CA2}" srcOrd="12" destOrd="0" presId="urn:microsoft.com/office/officeart/2018/2/layout/IconVerticalSolidList"/>
    <dgm:cxn modelId="{1497BC19-B648-F844-977A-D5865A78B90A}" type="presParOf" srcId="{48F932C2-D7DE-48CD-BB2A-6690F39B1CA2}" destId="{56D32BBB-8B09-4851-B85C-1288EF776CA2}" srcOrd="0" destOrd="0" presId="urn:microsoft.com/office/officeart/2018/2/layout/IconVerticalSolidList"/>
    <dgm:cxn modelId="{9391D79E-5C71-5E4C-8FEB-01A51052E920}" type="presParOf" srcId="{48F932C2-D7DE-48CD-BB2A-6690F39B1CA2}" destId="{D5158084-68AF-420C-9CA6-F10283DF5B73}" srcOrd="1" destOrd="0" presId="urn:microsoft.com/office/officeart/2018/2/layout/IconVerticalSolidList"/>
    <dgm:cxn modelId="{72C8266A-621F-4047-896D-0CA57F572AFD}" type="presParOf" srcId="{48F932C2-D7DE-48CD-BB2A-6690F39B1CA2}" destId="{BE36332B-8E88-47A9-9C46-E6811C398224}" srcOrd="2" destOrd="0" presId="urn:microsoft.com/office/officeart/2018/2/layout/IconVerticalSolidList"/>
    <dgm:cxn modelId="{B93524A7-CD34-C446-8B75-78D617BC0992}" type="presParOf" srcId="{48F932C2-D7DE-48CD-BB2A-6690F39B1CA2}" destId="{EBC596F9-5E25-4AB8-BAFA-8460F9D1375C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5D49BB-82A9-4DB6-8A0E-14866B23F47C}">
      <dsp:nvSpPr>
        <dsp:cNvPr id="0" name=""/>
        <dsp:cNvSpPr/>
      </dsp:nvSpPr>
      <dsp:spPr>
        <a:xfrm>
          <a:off x="0" y="3610"/>
          <a:ext cx="8755825" cy="73961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BED3AE7-E50A-4069-A9D7-583CC10D55A5}">
      <dsp:nvSpPr>
        <dsp:cNvPr id="0" name=""/>
        <dsp:cNvSpPr/>
      </dsp:nvSpPr>
      <dsp:spPr>
        <a:xfrm>
          <a:off x="223732" y="170023"/>
          <a:ext cx="406786" cy="40678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34956EF-6EE6-42CD-A459-309E2D4F7BAD}">
      <dsp:nvSpPr>
        <dsp:cNvPr id="0" name=""/>
        <dsp:cNvSpPr/>
      </dsp:nvSpPr>
      <dsp:spPr>
        <a:xfrm>
          <a:off x="854251" y="3610"/>
          <a:ext cx="3940121" cy="73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76" tIns="78276" rIns="78276" bIns="7827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i="0" kern="1200" dirty="0"/>
            <a:t>Zpoždění zahájení racionální medikamentózní léčby a léčby onemocnění</a:t>
          </a:r>
          <a:endParaRPr lang="en-US" sz="1600" kern="1200" dirty="0"/>
        </a:p>
      </dsp:txBody>
      <dsp:txXfrm>
        <a:off x="854251" y="3610"/>
        <a:ext cx="3940121" cy="739611"/>
      </dsp:txXfrm>
    </dsp:sp>
    <dsp:sp modelId="{970B4507-DF95-48AE-9C03-21D50F7E7331}">
      <dsp:nvSpPr>
        <dsp:cNvPr id="0" name=""/>
        <dsp:cNvSpPr/>
      </dsp:nvSpPr>
      <dsp:spPr>
        <a:xfrm>
          <a:off x="4794372" y="3610"/>
          <a:ext cx="3960616" cy="73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76" tIns="78276" rIns="78276" bIns="78276" numCol="1" spcCol="1270" anchor="ctr" anchorCtr="0">
          <a:noAutofit/>
        </a:bodyPr>
        <a:lstStyle/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100" b="0" i="0" kern="1200" dirty="0"/>
            <a:t>Zbytečné zpoždění včasného zahájení léčby pacientů</a:t>
          </a:r>
          <a:endParaRPr lang="en-US" sz="1100" kern="1200" dirty="0"/>
        </a:p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100" b="0" i="0" kern="1200" dirty="0"/>
            <a:t>Dlouhé objednací lhůty ke specialistům 3-6 měsíců</a:t>
          </a:r>
          <a:endParaRPr lang="en-US" sz="1100" kern="1200" dirty="0"/>
        </a:p>
      </dsp:txBody>
      <dsp:txXfrm>
        <a:off x="4794372" y="3610"/>
        <a:ext cx="3960616" cy="739611"/>
      </dsp:txXfrm>
    </dsp:sp>
    <dsp:sp modelId="{7FA78569-0E2F-4433-B132-93C96D6C5A66}">
      <dsp:nvSpPr>
        <dsp:cNvPr id="0" name=""/>
        <dsp:cNvSpPr/>
      </dsp:nvSpPr>
      <dsp:spPr>
        <a:xfrm>
          <a:off x="0" y="928125"/>
          <a:ext cx="8755825" cy="73961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3BA7C26-6288-424A-B147-BE2ADA3135AB}">
      <dsp:nvSpPr>
        <dsp:cNvPr id="0" name=""/>
        <dsp:cNvSpPr/>
      </dsp:nvSpPr>
      <dsp:spPr>
        <a:xfrm>
          <a:off x="223732" y="1094538"/>
          <a:ext cx="406786" cy="40678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5BE58D-FE61-4828-BD91-DC887170218F}">
      <dsp:nvSpPr>
        <dsp:cNvPr id="0" name=""/>
        <dsp:cNvSpPr/>
      </dsp:nvSpPr>
      <dsp:spPr>
        <a:xfrm>
          <a:off x="854251" y="928125"/>
          <a:ext cx="3940121" cy="73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76" tIns="78276" rIns="78276" bIns="7827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i="0" kern="1200" dirty="0"/>
            <a:t>Reálná nedostupnost terapie</a:t>
          </a:r>
          <a:r>
            <a:rPr lang="cs-CZ" sz="1600" b="0" i="0" kern="1200" dirty="0"/>
            <a:t> = </a:t>
          </a:r>
          <a:r>
            <a:rPr lang="cs-CZ" sz="1600" b="1" i="0" kern="1200" dirty="0"/>
            <a:t>nízký počet/kapacity specialistů</a:t>
          </a:r>
          <a:endParaRPr lang="en-US" sz="1600" b="1" kern="1200" dirty="0"/>
        </a:p>
      </dsp:txBody>
      <dsp:txXfrm>
        <a:off x="854251" y="928125"/>
        <a:ext cx="3940121" cy="739611"/>
      </dsp:txXfrm>
    </dsp:sp>
    <dsp:sp modelId="{B41B6531-996C-4A34-A454-14BBF271023F}">
      <dsp:nvSpPr>
        <dsp:cNvPr id="0" name=""/>
        <dsp:cNvSpPr/>
      </dsp:nvSpPr>
      <dsp:spPr>
        <a:xfrm>
          <a:off x="4794372" y="928125"/>
          <a:ext cx="3960616" cy="73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76" tIns="78276" rIns="78276" bIns="78276" numCol="1" spcCol="1270" anchor="ctr" anchorCtr="0">
          <a:noAutofit/>
        </a:bodyPr>
        <a:lstStyle/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100" b="0" i="0" kern="1200" dirty="0"/>
            <a:t>Např. osteoporóza, migréna</a:t>
          </a:r>
          <a:endParaRPr lang="en-US" sz="1100" kern="1200" dirty="0"/>
        </a:p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100" b="0" i="0" kern="1200" dirty="0"/>
            <a:t>Regionální nedostupnost kapacit specialistů</a:t>
          </a:r>
          <a:endParaRPr lang="en-US" sz="1100" kern="1200" dirty="0"/>
        </a:p>
      </dsp:txBody>
      <dsp:txXfrm>
        <a:off x="4794372" y="928125"/>
        <a:ext cx="3960616" cy="739611"/>
      </dsp:txXfrm>
    </dsp:sp>
    <dsp:sp modelId="{4E24C352-3A3D-4926-8770-3E09FA9E3BCC}">
      <dsp:nvSpPr>
        <dsp:cNvPr id="0" name=""/>
        <dsp:cNvSpPr/>
      </dsp:nvSpPr>
      <dsp:spPr>
        <a:xfrm>
          <a:off x="0" y="1852640"/>
          <a:ext cx="8755825" cy="73961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E03879D-2AAD-4464-90FD-A0C4DD9EE5D1}">
      <dsp:nvSpPr>
        <dsp:cNvPr id="0" name=""/>
        <dsp:cNvSpPr/>
      </dsp:nvSpPr>
      <dsp:spPr>
        <a:xfrm>
          <a:off x="223732" y="2019052"/>
          <a:ext cx="406786" cy="40678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E9C7EA7-C5F3-48C4-8632-B414E4F95B21}">
      <dsp:nvSpPr>
        <dsp:cNvPr id="0" name=""/>
        <dsp:cNvSpPr/>
      </dsp:nvSpPr>
      <dsp:spPr>
        <a:xfrm>
          <a:off x="854251" y="1852640"/>
          <a:ext cx="3940121" cy="73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76" tIns="78276" rIns="78276" bIns="7827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i="0" kern="1200" dirty="0"/>
            <a:t>Vázne koordinace léčby chronických onemocnění </a:t>
          </a:r>
          <a:r>
            <a:rPr lang="cs-CZ" sz="1600" b="0" i="0" kern="1200" dirty="0"/>
            <a:t>(disease management)</a:t>
          </a:r>
          <a:endParaRPr lang="en-US" sz="1600" kern="1200" dirty="0"/>
        </a:p>
      </dsp:txBody>
      <dsp:txXfrm>
        <a:off x="854251" y="1852640"/>
        <a:ext cx="3940121" cy="739611"/>
      </dsp:txXfrm>
    </dsp:sp>
    <dsp:sp modelId="{3606CA7D-B6CD-4E36-A346-E21602E69273}">
      <dsp:nvSpPr>
        <dsp:cNvPr id="0" name=""/>
        <dsp:cNvSpPr/>
      </dsp:nvSpPr>
      <dsp:spPr>
        <a:xfrm>
          <a:off x="4794372" y="1852640"/>
          <a:ext cx="3960616" cy="73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76" tIns="78276" rIns="78276" bIns="78276" numCol="1" spcCol="1270" anchor="ctr" anchorCtr="0">
          <a:noAutofit/>
        </a:bodyPr>
        <a:lstStyle/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100" b="0" i="0" kern="1200" dirty="0"/>
            <a:t>Kdo je vlastně odpovědný za léčbu nemocí, které mají multiorgánové projevy?</a:t>
          </a:r>
          <a:endParaRPr lang="en-US" sz="1100" kern="1200" dirty="0"/>
        </a:p>
      </dsp:txBody>
      <dsp:txXfrm>
        <a:off x="4794372" y="1852640"/>
        <a:ext cx="3960616" cy="739611"/>
      </dsp:txXfrm>
    </dsp:sp>
    <dsp:sp modelId="{769D1BA1-051C-42A3-B3DF-EFF212795136}">
      <dsp:nvSpPr>
        <dsp:cNvPr id="0" name=""/>
        <dsp:cNvSpPr/>
      </dsp:nvSpPr>
      <dsp:spPr>
        <a:xfrm>
          <a:off x="0" y="2777155"/>
          <a:ext cx="8755825" cy="73961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11D8CB-CBE9-4D1E-B087-D499EABC1F5E}">
      <dsp:nvSpPr>
        <dsp:cNvPr id="0" name=""/>
        <dsp:cNvSpPr/>
      </dsp:nvSpPr>
      <dsp:spPr>
        <a:xfrm>
          <a:off x="223732" y="2943567"/>
          <a:ext cx="406786" cy="406786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935C115-47CA-4569-BC56-2507569FD3C8}">
      <dsp:nvSpPr>
        <dsp:cNvPr id="0" name=""/>
        <dsp:cNvSpPr/>
      </dsp:nvSpPr>
      <dsp:spPr>
        <a:xfrm>
          <a:off x="854251" y="2777155"/>
          <a:ext cx="7900738" cy="73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76" tIns="78276" rIns="78276" bIns="7827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i="0" kern="1200" dirty="0"/>
            <a:t>Identifikace lékových interakcí, nežádoucích účinků – role PL</a:t>
          </a:r>
          <a:endParaRPr lang="en-US" sz="1600" kern="1200" dirty="0"/>
        </a:p>
      </dsp:txBody>
      <dsp:txXfrm>
        <a:off x="854251" y="2777155"/>
        <a:ext cx="7900738" cy="739611"/>
      </dsp:txXfrm>
    </dsp:sp>
    <dsp:sp modelId="{ECE9D826-3A9B-4438-9DD1-60D9EC6FA2F2}">
      <dsp:nvSpPr>
        <dsp:cNvPr id="0" name=""/>
        <dsp:cNvSpPr/>
      </dsp:nvSpPr>
      <dsp:spPr>
        <a:xfrm>
          <a:off x="0" y="3701669"/>
          <a:ext cx="8755825" cy="73961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781365E-AB65-466D-ACDE-A98750244075}">
      <dsp:nvSpPr>
        <dsp:cNvPr id="0" name=""/>
        <dsp:cNvSpPr/>
      </dsp:nvSpPr>
      <dsp:spPr>
        <a:xfrm>
          <a:off x="223732" y="3868082"/>
          <a:ext cx="406786" cy="406786"/>
        </a:xfrm>
        <a:prstGeom prst="rect">
          <a:avLst/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F0A0A1-A494-4B88-853F-742DE21CD994}">
      <dsp:nvSpPr>
        <dsp:cNvPr id="0" name=""/>
        <dsp:cNvSpPr/>
      </dsp:nvSpPr>
      <dsp:spPr>
        <a:xfrm>
          <a:off x="854251" y="3701669"/>
          <a:ext cx="3940121" cy="73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76" tIns="78276" rIns="78276" bIns="7827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i="0" kern="1200" dirty="0"/>
            <a:t>Zbytečné náklady zdravotních pojišťoven</a:t>
          </a:r>
          <a:endParaRPr lang="en-US" sz="1600" kern="1200" dirty="0"/>
        </a:p>
      </dsp:txBody>
      <dsp:txXfrm>
        <a:off x="854251" y="3701669"/>
        <a:ext cx="3940121" cy="739611"/>
      </dsp:txXfrm>
    </dsp:sp>
    <dsp:sp modelId="{439F0655-A907-4966-879A-2D6310C2DDE0}">
      <dsp:nvSpPr>
        <dsp:cNvPr id="0" name=""/>
        <dsp:cNvSpPr/>
      </dsp:nvSpPr>
      <dsp:spPr>
        <a:xfrm>
          <a:off x="4794372" y="3701669"/>
          <a:ext cx="3960616" cy="73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76" tIns="78276" rIns="78276" bIns="78276" numCol="1" spcCol="1270" anchor="ctr" anchorCtr="0">
          <a:noAutofit/>
        </a:bodyPr>
        <a:lstStyle/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100" b="0" i="0" kern="1200" dirty="0"/>
            <a:t>Specialista si vykazuje i zbytečná vyšetření, protože za preskripci není úhrada</a:t>
          </a:r>
          <a:endParaRPr lang="en-US" sz="1100" kern="1200" dirty="0"/>
        </a:p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100" b="0" i="0" kern="1200" dirty="0"/>
            <a:t>Duplicita vyšetření, plýtvání</a:t>
          </a:r>
          <a:endParaRPr lang="en-US" sz="1100" kern="1200" dirty="0"/>
        </a:p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100" b="0" i="0" kern="1200" dirty="0"/>
            <a:t>Péče u praktického lékaře je pro zdravotní systém levnější </a:t>
          </a:r>
          <a:endParaRPr lang="en-US" sz="1100" kern="1200" dirty="0"/>
        </a:p>
      </dsp:txBody>
      <dsp:txXfrm>
        <a:off x="4794372" y="3701669"/>
        <a:ext cx="3960616" cy="739611"/>
      </dsp:txXfrm>
    </dsp:sp>
    <dsp:sp modelId="{DD5F27D9-E694-489A-B81C-7B103F5D8552}">
      <dsp:nvSpPr>
        <dsp:cNvPr id="0" name=""/>
        <dsp:cNvSpPr/>
      </dsp:nvSpPr>
      <dsp:spPr>
        <a:xfrm>
          <a:off x="0" y="4626184"/>
          <a:ext cx="8755825" cy="73961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4B90021-453B-4150-A70B-90B8F0D51EBB}">
      <dsp:nvSpPr>
        <dsp:cNvPr id="0" name=""/>
        <dsp:cNvSpPr/>
      </dsp:nvSpPr>
      <dsp:spPr>
        <a:xfrm>
          <a:off x="223732" y="4792597"/>
          <a:ext cx="406786" cy="406786"/>
        </a:xfrm>
        <a:prstGeom prst="rect">
          <a:avLst/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C14EBE-DCD6-4A37-9E9D-D932A997E5A1}">
      <dsp:nvSpPr>
        <dsp:cNvPr id="0" name=""/>
        <dsp:cNvSpPr/>
      </dsp:nvSpPr>
      <dsp:spPr>
        <a:xfrm>
          <a:off x="854251" y="4626184"/>
          <a:ext cx="3940121" cy="73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76" tIns="78276" rIns="78276" bIns="7827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i="0" kern="1200" dirty="0"/>
            <a:t>Zbytečné náklady na straně pacientů</a:t>
          </a:r>
          <a:endParaRPr lang="en-US" sz="1600" kern="1200" dirty="0"/>
        </a:p>
      </dsp:txBody>
      <dsp:txXfrm>
        <a:off x="854251" y="4626184"/>
        <a:ext cx="3940121" cy="739611"/>
      </dsp:txXfrm>
    </dsp:sp>
    <dsp:sp modelId="{187A4EB4-176C-4843-A545-1D383D56FDFC}">
      <dsp:nvSpPr>
        <dsp:cNvPr id="0" name=""/>
        <dsp:cNvSpPr/>
      </dsp:nvSpPr>
      <dsp:spPr>
        <a:xfrm>
          <a:off x="4794372" y="4626184"/>
          <a:ext cx="3960616" cy="73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76" tIns="78276" rIns="78276" bIns="78276" numCol="1" spcCol="1270" anchor="ctr" anchorCtr="0">
          <a:noAutofit/>
        </a:bodyPr>
        <a:lstStyle/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100" b="0" i="0" kern="1200" dirty="0"/>
            <a:t>Dojíždění, pracovní absence</a:t>
          </a:r>
          <a:endParaRPr lang="en-US" sz="1100" kern="1200" dirty="0"/>
        </a:p>
        <a:p>
          <a:pPr marL="0" lvl="0" indent="0" algn="l" defTabSz="4889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100" b="0" i="0" kern="1200" dirty="0"/>
            <a:t>Zbytečné návštěvy specialistů pouze kvůli preskripci LP</a:t>
          </a:r>
          <a:endParaRPr lang="en-US" sz="1100" kern="1200" dirty="0"/>
        </a:p>
      </dsp:txBody>
      <dsp:txXfrm>
        <a:off x="4794372" y="4626184"/>
        <a:ext cx="3960616" cy="739611"/>
      </dsp:txXfrm>
    </dsp:sp>
    <dsp:sp modelId="{56D32BBB-8B09-4851-B85C-1288EF776CA2}">
      <dsp:nvSpPr>
        <dsp:cNvPr id="0" name=""/>
        <dsp:cNvSpPr/>
      </dsp:nvSpPr>
      <dsp:spPr>
        <a:xfrm>
          <a:off x="0" y="5550699"/>
          <a:ext cx="8755825" cy="739611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5158084-68AF-420C-9CA6-F10283DF5B73}">
      <dsp:nvSpPr>
        <dsp:cNvPr id="0" name=""/>
        <dsp:cNvSpPr/>
      </dsp:nvSpPr>
      <dsp:spPr>
        <a:xfrm>
          <a:off x="223732" y="5717112"/>
          <a:ext cx="406786" cy="406786"/>
        </a:xfrm>
        <a:prstGeom prst="rect">
          <a:avLst/>
        </a:prstGeom>
        <a:blipFill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C596F9-5E25-4AB8-BAFA-8460F9D1375C}">
      <dsp:nvSpPr>
        <dsp:cNvPr id="0" name=""/>
        <dsp:cNvSpPr/>
      </dsp:nvSpPr>
      <dsp:spPr>
        <a:xfrm>
          <a:off x="854251" y="5550699"/>
          <a:ext cx="7900738" cy="73961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8276" tIns="78276" rIns="78276" bIns="78276" numCol="1" spcCol="1270" anchor="ctr" anchorCtr="0">
          <a:noAutofit/>
        </a:bodyPr>
        <a:lstStyle/>
        <a:p>
          <a:pPr marL="0" lvl="0" indent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600" b="1" i="0" kern="1200" dirty="0"/>
            <a:t>„Vytváříme lékaře různých kategorií“</a:t>
          </a:r>
          <a:endParaRPr lang="en-US" sz="1600" kern="1200" dirty="0"/>
        </a:p>
      </dsp:txBody>
      <dsp:txXfrm>
        <a:off x="854251" y="5550699"/>
        <a:ext cx="7900738" cy="73961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866020F-E29F-2641-BCD1-9B84AA80F18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9D0F33A-3AFC-7643-88D2-12F229EDA24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EF5B2C9-8C29-4249-99E8-6EBA07387F59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009D76-304E-7742-A2BF-51866DCD9AA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CD67AB-AF7B-D742-8167-69B2938B9B1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386011-2B26-9342-946E-1E3F13E95F62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187622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842D11F-CC8B-4C52-96AF-37A3A693097C}" type="datetimeFigureOut">
              <a:rPr lang="cs-CZ" smtClean="0"/>
              <a:t>24.10.2023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Upravte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98C393-82CA-48F9-AF7F-884CA9A5461D}" type="slidenum">
              <a:rPr lang="cs-CZ" smtClean="0"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90241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lide">
    <p:bg>
      <p:bgPr>
        <a:solidFill>
          <a:srgbClr val="013F8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0512DB-0B9D-6C4C-B068-B92CB30A25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0931" y="6023199"/>
            <a:ext cx="2595743" cy="276999"/>
          </a:xfrm>
        </p:spPr>
        <p:txBody>
          <a:bodyPr wrap="square" lIns="0" tIns="0" rIns="0" bIns="0" anchor="b">
            <a:spAutoFit/>
          </a:bodyPr>
          <a:lstStyle>
            <a:lvl1pPr marL="0" indent="0" algn="r">
              <a:buFontTx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DD /MM / RR</a:t>
            </a:r>
            <a:endParaRPr lang="cs-CZ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448D8-B859-DA45-BBB1-BFB30B25F2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6" y="6001942"/>
            <a:ext cx="4262438" cy="319511"/>
          </a:xfrm>
        </p:spPr>
        <p:txBody>
          <a:bodyPr lIns="0" tIns="0" rIns="0" bIns="0">
            <a:spAutoFit/>
          </a:bodyPr>
          <a:lstStyle>
            <a:lvl1pPr marL="0" indent="0">
              <a:lnSpc>
                <a:spcPct val="86000"/>
              </a:lnSpc>
              <a:spcBef>
                <a:spcPts val="0"/>
              </a:spcBef>
              <a:buFontTx/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Autor 1#, Autor 2#…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C321A9DE-6E34-864B-9554-63A086D8C5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6" y="4965108"/>
            <a:ext cx="10801349" cy="951213"/>
          </a:xfrm>
          <a:prstGeom prst="rect">
            <a:avLst/>
          </a:prstGeom>
        </p:spPr>
        <p:txBody>
          <a:bodyPr vert="horz" lIns="0" tIns="0" rIns="0" bIns="72000" rtlCol="0" anchor="b" anchorCtr="0">
            <a:spAutoFit/>
          </a:bodyPr>
          <a:lstStyle>
            <a:lvl1pPr algn="l">
              <a:lnSpc>
                <a:spcPct val="86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Název Prezentace</a:t>
            </a: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18E66DC-541F-A743-B40E-CF553CA3F4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455" y="0"/>
            <a:ext cx="4718552" cy="199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74309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566" userDrawn="1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68800" y="6551452"/>
            <a:ext cx="2743200" cy="153888"/>
          </a:xfrm>
        </p:spPr>
        <p:txBody>
          <a:bodyPr rIns="0" anchor="ctr"/>
          <a:lstStyle>
            <a:lvl1pPr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016C0488-217C-405E-84A7-2C6B75A710C1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8" name="Content Placeholder 26"/>
          <p:cNvSpPr>
            <a:spLocks noGrp="1"/>
          </p:cNvSpPr>
          <p:nvPr>
            <p:ph sz="quarter" idx="15"/>
          </p:nvPr>
        </p:nvSpPr>
        <p:spPr>
          <a:xfrm>
            <a:off x="480000" y="1304765"/>
            <a:ext cx="11232000" cy="4959965"/>
          </a:xfrm>
        </p:spPr>
        <p:txBody>
          <a:bodyPr lIns="0" tIns="0" rIns="0" bIns="0">
            <a:normAutofit/>
          </a:bodyPr>
          <a:lstStyle>
            <a:lvl1pPr>
              <a:defRPr sz="1700" baseline="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80000" y="260648"/>
            <a:ext cx="11232000" cy="792088"/>
          </a:xfrm>
        </p:spPr>
        <p:txBody>
          <a:bodyPr lIns="0" tIns="0" rIns="0" bIns="0" anchor="b">
            <a:noAutofit/>
          </a:bodyPr>
          <a:lstStyle>
            <a:lvl1pPr>
              <a:defRPr sz="28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80000" y="6489340"/>
            <a:ext cx="11232000" cy="0"/>
          </a:xfrm>
          <a:prstGeom prst="line">
            <a:avLst/>
          </a:prstGeom>
          <a:ln w="9525"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480002" y="6525344"/>
            <a:ext cx="8256292" cy="206104"/>
          </a:xfrm>
        </p:spPr>
        <p:txBody>
          <a:bodyPr lIns="0" tIns="0" rIns="0" bIns="0" anchor="ctr">
            <a:noAutofit/>
          </a:bodyPr>
          <a:lstStyle>
            <a:lvl1pPr marL="0" indent="0">
              <a:buNone/>
              <a:defRPr sz="10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GB" dirty="0" err="1"/>
              <a:t>Zdroj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905258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solidFill>
                  <a:srgbClr val="283E92"/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609600" y="1041565"/>
            <a:ext cx="10849205" cy="5235844"/>
          </a:xfrm>
          <a:ln w="28575"/>
        </p:spPr>
        <p:txBody>
          <a:bodyPr/>
          <a:lstStyle>
            <a:lvl1pPr>
              <a:defRPr>
                <a:latin typeface="+mn-lt"/>
              </a:defRPr>
            </a:lvl1pPr>
            <a:lvl2pPr>
              <a:defRPr>
                <a:latin typeface="+mn-lt"/>
              </a:defRPr>
            </a:lvl2pPr>
            <a:lvl3pPr>
              <a:defRPr>
                <a:latin typeface="+mn-lt"/>
              </a:defRPr>
            </a:lvl3pPr>
            <a:lvl4pPr>
              <a:defRPr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cs-CZ" dirty="0"/>
              <a:t>Kliknutím lze upravit styly předlohy textu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</p:spTree>
    <p:extLst>
      <p:ext uri="{BB962C8B-B14F-4D97-AF65-F5344CB8AC3E}">
        <p14:creationId xmlns:p14="http://schemas.microsoft.com/office/powerpoint/2010/main" val="2100409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lide, podnadpis ">
    <p:bg>
      <p:bgPr>
        <a:solidFill>
          <a:srgbClr val="013F8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0512DB-0B9D-6C4C-B068-B92CB30A25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900931" y="6023199"/>
            <a:ext cx="2595743" cy="276999"/>
          </a:xfrm>
        </p:spPr>
        <p:txBody>
          <a:bodyPr wrap="square" lIns="0" tIns="0" rIns="0" bIns="0" anchor="b">
            <a:spAutoFit/>
          </a:bodyPr>
          <a:lstStyle>
            <a:lvl1pPr marL="0" indent="0" algn="r">
              <a:spcBef>
                <a:spcPts val="0"/>
              </a:spcBef>
              <a:buFontTx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DD /MM / RR</a:t>
            </a:r>
            <a:endParaRPr lang="cs-CZ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44448D8-B859-DA45-BBB1-BFB30B25F2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326" y="6001942"/>
            <a:ext cx="4262438" cy="319511"/>
          </a:xfrm>
        </p:spPr>
        <p:txBody>
          <a:bodyPr lIns="0" tIns="0" rIns="0" bIns="0">
            <a:spAutoFit/>
          </a:bodyPr>
          <a:lstStyle>
            <a:lvl1pPr marL="0" indent="0">
              <a:lnSpc>
                <a:spcPct val="86000"/>
              </a:lnSpc>
              <a:spcBef>
                <a:spcPts val="0"/>
              </a:spcBef>
              <a:buFontTx/>
              <a:buNone/>
              <a:defRPr sz="240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/>
              <a:t>Autor 1#, Autor 2#…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62E691C-32FC-7049-9328-14493B6308E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326" y="5282243"/>
            <a:ext cx="10801350" cy="479170"/>
          </a:xfrm>
        </p:spPr>
        <p:txBody>
          <a:bodyPr lIns="0" tIns="0" rIns="0" bIns="0" anchor="b">
            <a:spAutoFit/>
          </a:bodyPr>
          <a:lstStyle>
            <a:lvl1pPr marL="0" indent="0">
              <a:lnSpc>
                <a:spcPct val="86000"/>
              </a:lnSpc>
              <a:spcBef>
                <a:spcPts val="0"/>
              </a:spcBef>
              <a:buFontTx/>
              <a:buNone/>
              <a:defRPr sz="3600" b="1">
                <a:latin typeface="+mj-lt"/>
              </a:defRPr>
            </a:lvl1pPr>
          </a:lstStyle>
          <a:p>
            <a:pPr lvl="0"/>
            <a:r>
              <a:rPr lang="en-US" dirty="0" err="1"/>
              <a:t>Podnadpis</a:t>
            </a:r>
            <a:r>
              <a:rPr lang="en-US" dirty="0"/>
              <a:t> </a:t>
            </a:r>
            <a:r>
              <a:rPr lang="en-US" dirty="0" err="1"/>
              <a:t>Prezentace</a:t>
            </a:r>
            <a:endParaRPr lang="cs-CZ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C321A9DE-6E34-864B-9554-63A086D8C5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4331030"/>
            <a:ext cx="10801349" cy="951213"/>
          </a:xfrm>
          <a:prstGeom prst="rect">
            <a:avLst/>
          </a:prstGeom>
        </p:spPr>
        <p:txBody>
          <a:bodyPr vert="horz" lIns="0" tIns="0" rIns="0" bIns="72000" rtlCol="0" anchor="b" anchorCtr="0">
            <a:spAutoFit/>
          </a:bodyPr>
          <a:lstStyle>
            <a:lvl1pPr algn="l">
              <a:lnSpc>
                <a:spcPct val="86000"/>
              </a:lnSpc>
              <a:defRPr sz="6600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Název Prezentace</a:t>
            </a:r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5701475-A06E-8A49-A815-BBC855062D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455" y="0"/>
            <a:ext cx="4718552" cy="19945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42195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566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ý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5325" y="250925"/>
            <a:ext cx="8101013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4B0A68E-7420-624F-8517-8FCD5854A4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7" y="5555187"/>
            <a:ext cx="10801348" cy="682101"/>
          </a:xfrm>
          <a:prstGeom prst="rect">
            <a:avLst/>
          </a:prstGeom>
        </p:spPr>
        <p:txBody>
          <a:bodyPr vert="horz" wrap="square" lIns="0" tIns="0" rIns="0" bIns="72000" rtlCol="0" anchor="b" anchorCtr="0">
            <a:spAutoFit/>
          </a:bodyPr>
          <a:lstStyle>
            <a:lvl1pPr algn="l">
              <a:lnSpc>
                <a:spcPct val="9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1. Název Oddílu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1E50201-F6BA-854F-A9CC-F892BC6D9505}"/>
              </a:ext>
            </a:extLst>
          </p:cNvPr>
          <p:cNvCxnSpPr>
            <a:cxnSpLocks/>
          </p:cNvCxnSpPr>
          <p:nvPr userDrawn="1"/>
        </p:nvCxnSpPr>
        <p:spPr>
          <a:xfrm>
            <a:off x="695325" y="6237288"/>
            <a:ext cx="10801350" cy="1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79596BAA-879B-7A4E-8332-188FBA65E06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8876" y="209131"/>
            <a:ext cx="2273371" cy="960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185245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ředělový slide s podnadpisem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5325" y="250925"/>
            <a:ext cx="8101013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4B0A68E-7420-624F-8517-8FCD5854A4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08272" y="5022617"/>
            <a:ext cx="10788403" cy="682101"/>
          </a:xfrm>
          <a:prstGeom prst="rect">
            <a:avLst/>
          </a:prstGeom>
        </p:spPr>
        <p:txBody>
          <a:bodyPr vert="horz" wrap="square" lIns="0" tIns="0" rIns="0" bIns="72000" rtlCol="0" anchor="b" anchorCtr="0">
            <a:spAutoFit/>
          </a:bodyPr>
          <a:lstStyle>
            <a:lvl1pPr algn="l">
              <a:lnSpc>
                <a:spcPct val="90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cs-CZ" dirty="0"/>
              <a:t>1. Název Oddílu</a:t>
            </a:r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1E50201-F6BA-854F-A9CC-F892BC6D9505}"/>
              </a:ext>
            </a:extLst>
          </p:cNvPr>
          <p:cNvCxnSpPr>
            <a:cxnSpLocks/>
          </p:cNvCxnSpPr>
          <p:nvPr userDrawn="1"/>
        </p:nvCxnSpPr>
        <p:spPr>
          <a:xfrm>
            <a:off x="695325" y="6237288"/>
            <a:ext cx="10801350" cy="1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23A137D-F602-8A45-8ABE-2C12FDC35A4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2018" y="5704719"/>
            <a:ext cx="10788402" cy="532569"/>
          </a:xfrm>
        </p:spPr>
        <p:txBody>
          <a:bodyPr wrap="square" lIns="0" tIns="0" rIns="0" bIns="108000" anchor="b">
            <a:spAutoFit/>
          </a:bodyPr>
          <a:lstStyle>
            <a:lvl1pPr marL="0" indent="0">
              <a:lnSpc>
                <a:spcPct val="86000"/>
              </a:lnSpc>
              <a:spcBef>
                <a:spcPts val="0"/>
              </a:spcBef>
              <a:buFontTx/>
              <a:buNone/>
              <a:defRPr sz="32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 err="1"/>
              <a:t>Podnadpis</a:t>
            </a:r>
            <a:r>
              <a:rPr lang="en-US" dirty="0"/>
              <a:t> </a:t>
            </a:r>
            <a:r>
              <a:rPr lang="en-US" dirty="0" err="1"/>
              <a:t>oddílu</a:t>
            </a:r>
            <a:endParaRPr lang="cs-CZ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126BA2B-D885-484C-B0DA-FC3CE77075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8876" y="209131"/>
            <a:ext cx="2273371" cy="960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47299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1 sloupe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cap="all" spc="100" baseline="0">
                <a:solidFill>
                  <a:schemeClr val="accent5"/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cap="all" spc="100" baseline="0">
                <a:solidFill>
                  <a:schemeClr val="accent5"/>
                </a:solidFill>
              </a:defRPr>
            </a:lvl1pPr>
          </a:lstStyle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3868C98-4BBF-AB46-A422-5FAF2D88D5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25" y="1066433"/>
            <a:ext cx="8101013" cy="454227"/>
          </a:xfrm>
        </p:spPr>
        <p:txBody>
          <a:bodyPr/>
          <a:lstStyle/>
          <a:p>
            <a:r>
              <a:rPr lang="en-US" dirty="0" err="1"/>
              <a:t>Nadpis</a:t>
            </a:r>
            <a:r>
              <a:rPr lang="en-US" dirty="0"/>
              <a:t> </a:t>
            </a:r>
            <a:r>
              <a:rPr lang="en-US" dirty="0" err="1"/>
              <a:t>Slidu</a:t>
            </a:r>
            <a:endParaRPr lang="cs-CZ" dirty="0"/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E954EA9B-ECD0-3844-9E17-79A6A48B950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95325" y="1844675"/>
            <a:ext cx="10801350" cy="4392613"/>
          </a:xfrm>
        </p:spPr>
        <p:txBody>
          <a:bodyPr rIns="36000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lang="cs-CZ" b="0" i="0" u="none" strike="noStrike" smtClean="0">
                <a:effectLst/>
              </a:defRPr>
            </a:lvl1pPr>
            <a:lvl2pPr marL="8001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7145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1717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cs-CZ" dirty="0"/>
              <a:t>Obsah </a:t>
            </a:r>
            <a:r>
              <a:rPr lang="cs-CZ" dirty="0" err="1"/>
              <a:t>Slidu</a:t>
            </a:r>
            <a:endParaRPr lang="cs-CZ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5BB7B1A-9546-184A-8488-37082B143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2016" y="6485128"/>
            <a:ext cx="10801350" cy="15234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 err="1"/>
              <a:t>Možná</a:t>
            </a:r>
            <a:r>
              <a:rPr lang="en-US" dirty="0"/>
              <a:t> </a:t>
            </a:r>
            <a:r>
              <a:rPr lang="en-US" dirty="0" err="1"/>
              <a:t>Poznámka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1D28CAC-24AD-7E4D-92F6-18A3198278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1111" y="520097"/>
            <a:ext cx="2152255" cy="604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734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46" userDrawn="1">
          <p15:clr>
            <a:srgbClr val="5ACBF0"/>
          </p15:clr>
        </p15:guide>
        <p15:guide id="2" pos="3840" userDrawn="1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2 sloup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74B40-CE18-0342-A9FD-AB769A4CE3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/>
              <a:t>Nadpis</a:t>
            </a:r>
            <a:r>
              <a:rPr lang="en-US" dirty="0"/>
              <a:t> </a:t>
            </a:r>
            <a:r>
              <a:rPr lang="en-US" dirty="0" err="1"/>
              <a:t>Slidu</a:t>
            </a:r>
            <a:endParaRPr lang="cs-CZ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1E6F7E-84A2-1346-B9BD-5585FF9C1E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95325" y="250925"/>
            <a:ext cx="8101013" cy="153888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F0CD94-ECC5-7342-8A22-BE7B7CA111F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B930AED-9751-0E46-8A7A-866D20F84C8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5325" y="1844675"/>
            <a:ext cx="5292725" cy="4392613"/>
          </a:xfrm>
        </p:spPr>
        <p:txBody>
          <a:bodyPr rIns="18000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lang="cs-CZ" b="0" i="0" u="none" strike="noStrike" smtClean="0">
                <a:effectLst/>
              </a:defRPr>
            </a:lvl1pPr>
            <a:lvl2pPr marL="8001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7145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1717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cs-CZ" dirty="0"/>
              <a:t>1. Sloupec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B34C6E2-4890-634A-AF2B-C542FC6FB8B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03950" y="1844675"/>
            <a:ext cx="5292725" cy="4392613"/>
          </a:xfrm>
        </p:spPr>
        <p:txBody>
          <a:bodyPr rIns="18000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lang="cs-CZ" b="0" i="0" u="none" strike="noStrike" smtClean="0">
                <a:effectLst/>
              </a:defRPr>
            </a:lvl1pPr>
            <a:lvl2pPr marL="8001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7145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1717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cs-CZ" dirty="0"/>
              <a:t>2. Sloupec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427A139-B025-4749-9464-1002DEF22F1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92016" y="6485128"/>
            <a:ext cx="10801350" cy="15234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 err="1"/>
              <a:t>Možná</a:t>
            </a:r>
            <a:r>
              <a:rPr lang="en-US" dirty="0"/>
              <a:t> </a:t>
            </a:r>
            <a:r>
              <a:rPr lang="en-US" dirty="0" err="1"/>
              <a:t>Poznámka</a:t>
            </a:r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B253EF4-4BF7-CF41-81BE-087B90C7FAD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1111" y="520097"/>
            <a:ext cx="2152255" cy="604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174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772" userDrawn="1">
          <p15:clr>
            <a:srgbClr val="5ACBF0"/>
          </p15:clr>
        </p15:guide>
        <p15:guide id="2" pos="3908" userDrawn="1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, 3 sloup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74B40-CE18-0342-A9FD-AB769A4CE3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err="1"/>
              <a:t>Nadpis</a:t>
            </a:r>
            <a:r>
              <a:rPr lang="en-US" dirty="0"/>
              <a:t> </a:t>
            </a:r>
            <a:r>
              <a:rPr lang="en-US" dirty="0" err="1"/>
              <a:t>Slidu</a:t>
            </a:r>
            <a:endParaRPr lang="cs-CZ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1E6F7E-84A2-1346-B9BD-5585FF9C1EB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95325" y="250925"/>
            <a:ext cx="8101013" cy="153888"/>
          </a:xfrm>
        </p:spPr>
        <p:txBody>
          <a:bodyPr/>
          <a:lstStyle/>
          <a:p>
            <a:endParaRPr lang="cs-CZ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1F0CD94-ECC5-7342-8A22-BE7B7CA111F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4B930AED-9751-0E46-8A7A-866D20F84C8E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95326" y="1844675"/>
            <a:ext cx="3455987" cy="4392613"/>
          </a:xfrm>
        </p:spPr>
        <p:txBody>
          <a:bodyPr rIns="10800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lang="cs-CZ" b="0" i="0" u="none" strike="noStrike" smtClean="0">
                <a:effectLst/>
              </a:defRPr>
            </a:lvl1pPr>
            <a:lvl2pPr marL="8001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7145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1717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cs-CZ" dirty="0"/>
              <a:t>1. Sloupec</a:t>
            </a:r>
          </a:p>
        </p:txBody>
      </p:sp>
      <p:sp>
        <p:nvSpPr>
          <p:cNvPr id="9" name="Content Placeholder 7">
            <a:extLst>
              <a:ext uri="{FF2B5EF4-FFF2-40B4-BE49-F238E27FC236}">
                <a16:creationId xmlns:a16="http://schemas.microsoft.com/office/drawing/2014/main" id="{8B34C6E2-4890-634A-AF2B-C542FC6FB8BF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368801" y="1844675"/>
            <a:ext cx="3455987" cy="4392613"/>
          </a:xfrm>
        </p:spPr>
        <p:txBody>
          <a:bodyPr rIns="10800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lang="cs-CZ" b="0" i="0" u="none" strike="noStrike" smtClean="0">
                <a:effectLst/>
              </a:defRPr>
            </a:lvl1pPr>
            <a:lvl2pPr marL="8001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7145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1717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cs-CZ" dirty="0"/>
              <a:t>2. Sloupec</a:t>
            </a:r>
          </a:p>
        </p:txBody>
      </p:sp>
      <p:sp>
        <p:nvSpPr>
          <p:cNvPr id="11" name="Content Placeholder 7">
            <a:extLst>
              <a:ext uri="{FF2B5EF4-FFF2-40B4-BE49-F238E27FC236}">
                <a16:creationId xmlns:a16="http://schemas.microsoft.com/office/drawing/2014/main" id="{B3AFEAF7-96B7-D644-BDFB-DE83DB4F69D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037552" y="1844675"/>
            <a:ext cx="3455814" cy="4392613"/>
          </a:xfrm>
        </p:spPr>
        <p:txBody>
          <a:bodyPr rIns="108000"/>
          <a:lstStyle>
            <a:lvl1pPr marL="0" indent="0">
              <a:spcBef>
                <a:spcPts val="600"/>
              </a:spcBef>
              <a:buFont typeface="Arial" panose="020B0604020202020204" pitchFamily="34" charset="0"/>
              <a:buNone/>
              <a:defRPr lang="cs-CZ" b="0" i="0" u="none" strike="noStrike" smtClean="0">
                <a:effectLst/>
              </a:defRPr>
            </a:lvl1pPr>
            <a:lvl2pPr marL="8001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2573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7145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171700" indent="-342900">
              <a:spcBef>
                <a:spcPts val="600"/>
              </a:spcBef>
              <a:buFont typeface="Arial" panose="020B0604020202020204" pitchFamily="34" charset="0"/>
              <a:buChar char="•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cs-CZ" dirty="0"/>
              <a:t>3 Sloupec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CB85E8B-0407-7B40-9C23-F74A81A147A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2016" y="6485128"/>
            <a:ext cx="10801350" cy="152349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44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3716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1828800" indent="0">
              <a:buFontTx/>
              <a:buNone/>
              <a:defRPr sz="11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dirty="0" err="1"/>
              <a:t>Možná</a:t>
            </a:r>
            <a:r>
              <a:rPr lang="en-US" dirty="0"/>
              <a:t> </a:t>
            </a:r>
            <a:r>
              <a:rPr lang="en-US" dirty="0" err="1"/>
              <a:t>Poznámka</a:t>
            </a:r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17279BE-2E82-324D-B65B-EA5A7E5E20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1111" y="520097"/>
            <a:ext cx="2152255" cy="604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2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615" userDrawn="1">
          <p15:clr>
            <a:srgbClr val="5ACBF0"/>
          </p15:clr>
        </p15:guide>
        <p15:guide id="2" pos="2751" userDrawn="1">
          <p15:clr>
            <a:srgbClr val="5ACBF0"/>
          </p15:clr>
        </p15:guide>
        <p15:guide id="3" pos="5065" userDrawn="1">
          <p15:clr>
            <a:srgbClr val="5ACBF0"/>
          </p15:clr>
        </p15:guide>
        <p15:guide id="4" pos="4929" userDrawn="1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CFCC2A4C-B84B-7445-8392-702380FCC7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25AD4FF5-FA2B-2B4E-BEE4-A5F02DE94C2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cs-CZ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5C26993-69E9-1749-8AEB-352582C212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1111" y="520097"/>
            <a:ext cx="2152255" cy="604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8712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546" userDrawn="1">
          <p15:clr>
            <a:srgbClr val="5ACBF0"/>
          </p15:clr>
        </p15:guide>
        <p15:guide id="2" pos="3840" userDrawn="1">
          <p15:clr>
            <a:srgbClr val="5ACBF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ávě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95325" y="250925"/>
            <a:ext cx="8101013" cy="1538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cs-CZ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126BA2B-D885-484C-B0DA-FC3CE77075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8876" y="209131"/>
            <a:ext cx="2273371" cy="960983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BB47B3-91E9-9241-86F0-90462BDE35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92018" y="1844675"/>
            <a:ext cx="10788402" cy="4392613"/>
          </a:xfrm>
        </p:spPr>
        <p:txBody>
          <a:bodyPr wrap="square" lIns="0" tIns="0" rIns="0" bIns="0" anchor="ctr">
            <a:normAutofit/>
          </a:bodyPr>
          <a:lstStyle>
            <a:lvl1pPr marL="0" indent="0" algn="ctr">
              <a:lnSpc>
                <a:spcPct val="86000"/>
              </a:lnSpc>
              <a:spcBef>
                <a:spcPts val="0"/>
              </a:spcBef>
              <a:buFontTx/>
              <a:buNone/>
              <a:defRPr sz="3200" b="1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dirty="0" err="1"/>
              <a:t>Závěr</a:t>
            </a:r>
            <a:r>
              <a:rPr lang="en-US" dirty="0"/>
              <a:t> </a:t>
            </a:r>
            <a:r>
              <a:rPr lang="en-US" dirty="0" err="1"/>
              <a:t>Prezentace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223761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4BB7600-42FD-4D9E-BC8B-B904D0E355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35472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131" imgH="131" progId="TCLayout.ActiveDocument.1">
                  <p:embed/>
                </p:oleObj>
              </mc:Choice>
              <mc:Fallback>
                <p:oleObj name="think-cell Slide" r:id="rId14" imgW="131" imgH="13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4BB7600-42FD-4D9E-BC8B-B904D0E355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5325" y="1066433"/>
            <a:ext cx="8101013" cy="454227"/>
          </a:xfrm>
          <a:prstGeom prst="rect">
            <a:avLst/>
          </a:prstGeom>
        </p:spPr>
        <p:txBody>
          <a:bodyPr vert="horz" lIns="0" tIns="0" rIns="0" bIns="0" rtlCol="0" anchor="b" anchorCtr="0">
            <a:spAutoFit/>
          </a:bodyPr>
          <a:lstStyle/>
          <a:p>
            <a:r>
              <a:rPr lang="en-US" dirty="0" err="1"/>
              <a:t>Název</a:t>
            </a:r>
            <a:r>
              <a:rPr lang="en-US" dirty="0"/>
              <a:t> </a:t>
            </a:r>
            <a:r>
              <a:rPr lang="en-US" dirty="0" err="1"/>
              <a:t>Slidu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5325" y="1844675"/>
            <a:ext cx="10801350" cy="43926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5325" y="250925"/>
            <a:ext cx="8101013" cy="1538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defRPr sz="1000" b="1" cap="all" spc="100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cs-CZ" dirty="0"/>
              <a:t>FooteR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1" y="250925"/>
            <a:ext cx="695326" cy="15388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sz="1000" b="1" cap="all" spc="100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80747326-1927-48C0-BFA7-B0AFE1C889E4}" type="slidenum">
              <a:rPr lang="cs-CZ" smtClean="0"/>
              <a:pPr/>
              <a:t>‹#›</a:t>
            </a:fld>
            <a:endParaRPr lang="cs-CZ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FADBE4B-2764-4749-845E-9D6EF8CF1D33}"/>
              </a:ext>
            </a:extLst>
          </p:cNvPr>
          <p:cNvSpPr txBox="1"/>
          <p:nvPr userDrawn="1"/>
        </p:nvSpPr>
        <p:spPr>
          <a:xfrm>
            <a:off x="6966857" y="827314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115538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86" r:id="rId2"/>
    <p:sldLayoutId id="2147483675" r:id="rId3"/>
    <p:sldLayoutId id="2147483688" r:id="rId4"/>
    <p:sldLayoutId id="2147483674" r:id="rId5"/>
    <p:sldLayoutId id="2147483685" r:id="rId6"/>
    <p:sldLayoutId id="2147483689" r:id="rId7"/>
    <p:sldLayoutId id="2147483679" r:id="rId8"/>
    <p:sldLayoutId id="2147483690" r:id="rId9"/>
    <p:sldLayoutId id="2147483705" r:id="rId10"/>
    <p:sldLayoutId id="2147483706" r:id="rId11"/>
  </p:sldLayoutIdLst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600" b="1" i="0" kern="1200" spc="-40" baseline="0">
          <a:solidFill>
            <a:schemeClr val="accent6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Clr>
          <a:schemeClr val="tx1"/>
        </a:buClr>
        <a:buSzPct val="120000"/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7" pos="438" userDrawn="1">
          <p15:clr>
            <a:srgbClr val="C35EA4"/>
          </p15:clr>
        </p15:guide>
        <p15:guide id="10" pos="7242" userDrawn="1">
          <p15:clr>
            <a:srgbClr val="C35EA4"/>
          </p15:clr>
        </p15:guide>
        <p15:guide id="17" orient="horz" pos="164" userDrawn="1">
          <p15:clr>
            <a:srgbClr val="A4A3A4"/>
          </p15:clr>
        </p15:guide>
        <p15:guide id="18" orient="horz" pos="232" userDrawn="1">
          <p15:clr>
            <a:srgbClr val="A4A3A4"/>
          </p15:clr>
        </p15:guide>
        <p15:guide id="19" orient="horz" pos="4156" userDrawn="1">
          <p15:clr>
            <a:srgbClr val="A4A3A4"/>
          </p15:clr>
        </p15:guide>
        <p15:guide id="20" orient="horz" pos="4088" userDrawn="1">
          <p15:clr>
            <a:srgbClr val="A4A3A4"/>
          </p15:clr>
        </p15:guide>
        <p15:guide id="24" orient="horz" pos="3929" userDrawn="1">
          <p15:clr>
            <a:srgbClr val="C35EA4"/>
          </p15:clr>
        </p15:guide>
        <p15:guide id="25" orient="horz" pos="1162" userDrawn="1">
          <p15:clr>
            <a:srgbClr val="C35EA4"/>
          </p15:clr>
        </p15:guide>
        <p15:guide id="29" orient="horz" pos="89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emf"/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text 7">
            <a:extLst>
              <a:ext uri="{FF2B5EF4-FFF2-40B4-BE49-F238E27FC236}">
                <a16:creationId xmlns:a16="http://schemas.microsoft.com/office/drawing/2014/main" id="{817E737A-055E-44D5-A7FB-21B46DCC26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/>
              <a:t>26/6 2023</a:t>
            </a:r>
          </a:p>
        </p:txBody>
      </p:sp>
      <p:sp>
        <p:nvSpPr>
          <p:cNvPr id="7" name="Nadpis 6">
            <a:extLst>
              <a:ext uri="{FF2B5EF4-FFF2-40B4-BE49-F238E27FC236}">
                <a16:creationId xmlns:a16="http://schemas.microsoft.com/office/drawing/2014/main" id="{C9387FB2-1D46-4FCF-99B7-8070C894C2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136207"/>
            <a:ext cx="10801349" cy="1240780"/>
          </a:xfrm>
        </p:spPr>
        <p:txBody>
          <a:bodyPr/>
          <a:lstStyle/>
          <a:p>
            <a:r>
              <a:rPr lang="cs-CZ" sz="4400" dirty="0"/>
              <a:t>Preskripce léčivých přípravků a péče o pacienty</a:t>
            </a:r>
            <a:br>
              <a:rPr lang="cs-CZ" sz="4400" dirty="0"/>
            </a:br>
            <a:r>
              <a:rPr lang="cs-CZ" sz="4400" dirty="0"/>
              <a:t>s chronickým onemocněním v primární péči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661F268F-9F12-4F42-AFC3-745A9561EC1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250825"/>
            <a:ext cx="695325" cy="153988"/>
          </a:xfrm>
        </p:spPr>
        <p:txBody>
          <a:bodyPr/>
          <a:lstStyle/>
          <a:p>
            <a:fld id="{80747326-1927-48C0-BFA7-B0AFE1C889E4}" type="slidenum">
              <a:rPr lang="cs-CZ" smtClean="0"/>
              <a:pPr/>
              <a:t>1</a:t>
            </a:fld>
            <a:endParaRPr lang="cs-CZ" dirty="0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4A993476-D137-D616-D290-7F7C39740E4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cs-CZ" dirty="0"/>
              <a:t>Tomáš Doležal, David Šmehlík</a:t>
            </a:r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1070E4AD-01BF-4CC1-0410-6D086D5988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1556" y="250825"/>
            <a:ext cx="3941840" cy="1993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899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745C8C-0188-CFE8-B318-769D93EB6F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470" y="453874"/>
            <a:ext cx="8101013" cy="454227"/>
          </a:xfrm>
        </p:spPr>
        <p:txBody>
          <a:bodyPr/>
          <a:lstStyle/>
          <a:p>
            <a:r>
              <a:rPr lang="cs-CZ" dirty="0"/>
              <a:t>Co se povedlo – jdeme správnou cestou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8DD0C3A-E199-57A4-94E6-6BDBB016363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1397" y="1168282"/>
            <a:ext cx="10849205" cy="5235844"/>
          </a:xfrm>
        </p:spPr>
        <p:txBody>
          <a:bodyPr/>
          <a:lstStyle/>
          <a:p>
            <a:r>
              <a:rPr lang="cs-CZ" dirty="0"/>
              <a:t>Alfakalcidol, kalcitriol</a:t>
            </a:r>
          </a:p>
          <a:p>
            <a:r>
              <a:rPr lang="cs-CZ" dirty="0"/>
              <a:t>Ezetimib</a:t>
            </a:r>
          </a:p>
          <a:p>
            <a:r>
              <a:rPr lang="cs-CZ" dirty="0"/>
              <a:t>Terbinafin, fliuconazol </a:t>
            </a:r>
          </a:p>
          <a:p>
            <a:r>
              <a:rPr lang="cs-CZ" dirty="0"/>
              <a:t>Lokální KS:</a:t>
            </a:r>
          </a:p>
          <a:p>
            <a:pPr lvl="1"/>
            <a:r>
              <a:rPr lang="cs-CZ" dirty="0"/>
              <a:t>Betametason, clobetasol, mometason</a:t>
            </a:r>
          </a:p>
          <a:p>
            <a:r>
              <a:rPr lang="cs-CZ" dirty="0"/>
              <a:t>Urologie</a:t>
            </a:r>
          </a:p>
          <a:p>
            <a:pPr lvl="1"/>
            <a:r>
              <a:rPr lang="cs-CZ" dirty="0"/>
              <a:t>Oxybutynin, propiverin, trospium, solifenacin, darifenacin, fesoterin</a:t>
            </a:r>
          </a:p>
          <a:p>
            <a:pPr lvl="1"/>
            <a:r>
              <a:rPr lang="cs-CZ" dirty="0"/>
              <a:t>Alfuzosin, terazosin, tamsulosin (+dutasterid) (+solifenacin)</a:t>
            </a:r>
          </a:p>
          <a:p>
            <a:pPr lvl="1"/>
            <a:r>
              <a:rPr lang="cs-CZ" dirty="0"/>
              <a:t>Dutasterid, finasterid</a:t>
            </a:r>
          </a:p>
          <a:p>
            <a:r>
              <a:rPr lang="cs-CZ" dirty="0"/>
              <a:t>COX-2i: celecoxib, etoricoxib</a:t>
            </a:r>
          </a:p>
          <a:p>
            <a:r>
              <a:rPr lang="cs-CZ" dirty="0"/>
              <a:t>Gabapentin, pregabalin</a:t>
            </a:r>
          </a:p>
          <a:p>
            <a:r>
              <a:rPr lang="cs-CZ" dirty="0"/>
              <a:t>Galantamin, memantin, rivastigmin</a:t>
            </a:r>
          </a:p>
          <a:p>
            <a:pPr lvl="1"/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5759326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F0D7CB0A-7781-4819-E590-442B004120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7456" y="197406"/>
            <a:ext cx="10306591" cy="897425"/>
          </a:xfrm>
        </p:spPr>
        <p:txBody>
          <a:bodyPr/>
          <a:lstStyle/>
          <a:p>
            <a:r>
              <a:rPr lang="cs-CZ" dirty="0"/>
              <a:t>Aktuální potřeba – potřebujeme pokračovat dál nepřešlapovat na místě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66BADDC7-EFA5-48AB-0A8B-674C258742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7456" y="1365661"/>
            <a:ext cx="10849205" cy="4965013"/>
          </a:xfrm>
        </p:spPr>
        <p:txBody>
          <a:bodyPr>
            <a:normAutofit lnSpcReduction="10000"/>
          </a:bodyPr>
          <a:lstStyle/>
          <a:p>
            <a:r>
              <a:rPr lang="cs-CZ" b="1" dirty="0"/>
              <a:t>Minulé požadavky preskripce PL</a:t>
            </a:r>
          </a:p>
          <a:p>
            <a:pPr lvl="1"/>
            <a:r>
              <a:rPr lang="cs-CZ" dirty="0"/>
              <a:t>Targin (oxycodon + naloxon)</a:t>
            </a:r>
          </a:p>
          <a:p>
            <a:pPr lvl="1"/>
            <a:r>
              <a:rPr lang="cs-CZ" dirty="0"/>
              <a:t>Tacrolimus, pimecrolimu topické</a:t>
            </a:r>
          </a:p>
          <a:p>
            <a:pPr lvl="1"/>
            <a:r>
              <a:rPr lang="cs-CZ" dirty="0"/>
              <a:t>Itrakonazol</a:t>
            </a:r>
          </a:p>
          <a:p>
            <a:pPr lvl="1"/>
            <a:r>
              <a:rPr lang="cs-CZ" dirty="0"/>
              <a:t>Tolterodin</a:t>
            </a:r>
          </a:p>
          <a:p>
            <a:r>
              <a:rPr lang="cs-CZ" b="1" dirty="0"/>
              <a:t>Nové:</a:t>
            </a:r>
          </a:p>
          <a:p>
            <a:pPr lvl="1"/>
            <a:r>
              <a:rPr lang="cs-CZ" dirty="0"/>
              <a:t>Osteoporóza</a:t>
            </a:r>
          </a:p>
          <a:p>
            <a:pPr lvl="2"/>
            <a:r>
              <a:rPr lang="cs-CZ" dirty="0"/>
              <a:t>Bisfosfonáty</a:t>
            </a:r>
          </a:p>
          <a:p>
            <a:pPr lvl="1"/>
            <a:r>
              <a:rPr lang="cs-CZ" dirty="0"/>
              <a:t>Diabetes</a:t>
            </a:r>
          </a:p>
          <a:p>
            <a:pPr lvl="2"/>
            <a:r>
              <a:rPr lang="cs-CZ" dirty="0"/>
              <a:t>Thiazolidindiony, SGLT-2i, GLP-1 RA, repaglinid</a:t>
            </a:r>
          </a:p>
          <a:p>
            <a:pPr lvl="1"/>
            <a:r>
              <a:rPr lang="cs-CZ" dirty="0"/>
              <a:t>Nová antikoagulancia (NOACy)</a:t>
            </a:r>
          </a:p>
          <a:p>
            <a:pPr lvl="1"/>
            <a:r>
              <a:rPr lang="cs-CZ" dirty="0"/>
              <a:t>Venlafaxin</a:t>
            </a:r>
          </a:p>
          <a:p>
            <a:pPr lvl="1"/>
            <a:r>
              <a:rPr lang="cs-CZ" dirty="0"/>
              <a:t>Fixní kombinace LABA/IKS, LABA/LAMA</a:t>
            </a:r>
          </a:p>
          <a:p>
            <a:pPr lvl="1"/>
            <a:r>
              <a:rPr lang="cs-CZ" dirty="0"/>
              <a:t>Tiotropium</a:t>
            </a:r>
          </a:p>
          <a:p>
            <a:pPr lvl="1"/>
            <a:r>
              <a:rPr lang="cs-CZ" dirty="0"/>
              <a:t>Erdostein</a:t>
            </a:r>
          </a:p>
          <a:p>
            <a:pPr lvl="1"/>
            <a:r>
              <a:rPr lang="cs-CZ" dirty="0"/>
              <a:t>Sulfadiazin – topická natrii hyaluronas</a:t>
            </a:r>
          </a:p>
        </p:txBody>
      </p:sp>
    </p:spTree>
    <p:extLst>
      <p:ext uri="{BB962C8B-B14F-4D97-AF65-F5344CB8AC3E}">
        <p14:creationId xmlns:p14="http://schemas.microsoft.com/office/powerpoint/2010/main" val="31025195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Zástupný text 7">
            <a:extLst>
              <a:ext uri="{FF2B5EF4-FFF2-40B4-BE49-F238E27FC236}">
                <a16:creationId xmlns:a16="http://schemas.microsoft.com/office/drawing/2014/main" id="{817E737A-055E-44D5-A7FB-21B46DCC260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cs-CZ" dirty="0"/>
              <a:t>26/6 2023</a:t>
            </a:r>
          </a:p>
        </p:txBody>
      </p:sp>
      <p:sp>
        <p:nvSpPr>
          <p:cNvPr id="7" name="Nadpis 6">
            <a:extLst>
              <a:ext uri="{FF2B5EF4-FFF2-40B4-BE49-F238E27FC236}">
                <a16:creationId xmlns:a16="http://schemas.microsoft.com/office/drawing/2014/main" id="{C9387FB2-1D46-4FCF-99B7-8070C894C2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8197" y="3808507"/>
            <a:ext cx="6852063" cy="568480"/>
          </a:xfrm>
        </p:spPr>
        <p:txBody>
          <a:bodyPr/>
          <a:lstStyle/>
          <a:p>
            <a:r>
              <a:rPr lang="cs-CZ" sz="3200" dirty="0">
                <a:latin typeface="Daytona" panose="020B0604030500040204" pitchFamily="34" charset="0"/>
              </a:rPr>
              <a:t>     </a:t>
            </a:r>
            <a:r>
              <a:rPr lang="cs-CZ" sz="3600" b="0" dirty="0">
                <a:latin typeface="Avenir Next" panose="020B0503020202020204" pitchFamily="34" charset="0"/>
              </a:rPr>
              <a:t>DĚKUJI ZA POZORNOST</a:t>
            </a:r>
          </a:p>
        </p:txBody>
      </p:sp>
      <p:sp>
        <p:nvSpPr>
          <p:cNvPr id="3" name="Zástupný symbol pro číslo snímku 2">
            <a:extLst>
              <a:ext uri="{FF2B5EF4-FFF2-40B4-BE49-F238E27FC236}">
                <a16:creationId xmlns:a16="http://schemas.microsoft.com/office/drawing/2014/main" id="{661F268F-9F12-4F42-AFC3-745A9561EC1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250825"/>
            <a:ext cx="695325" cy="153988"/>
          </a:xfrm>
        </p:spPr>
        <p:txBody>
          <a:bodyPr/>
          <a:lstStyle/>
          <a:p>
            <a:fld id="{80747326-1927-48C0-BFA7-B0AFE1C889E4}" type="slidenum">
              <a:rPr lang="cs-CZ" smtClean="0"/>
              <a:pPr/>
              <a:t>12</a:t>
            </a:fld>
            <a:endParaRPr lang="cs-CZ" dirty="0"/>
          </a:p>
        </p:txBody>
      </p:sp>
      <p:pic>
        <p:nvPicPr>
          <p:cNvPr id="2" name="Obrázek 1">
            <a:extLst>
              <a:ext uri="{FF2B5EF4-FFF2-40B4-BE49-F238E27FC236}">
                <a16:creationId xmlns:a16="http://schemas.microsoft.com/office/drawing/2014/main" id="{1070E4AD-01BF-4CC1-0410-6D086D5988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01556" y="250825"/>
            <a:ext cx="3941840" cy="19936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2749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dpis 5">
            <a:extLst>
              <a:ext uri="{FF2B5EF4-FFF2-40B4-BE49-F238E27FC236}">
                <a16:creationId xmlns:a16="http://schemas.microsoft.com/office/drawing/2014/main" id="{8828AC81-8003-184D-B7A1-97AE12AD6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3600" u="sng" dirty="0">
                <a:effectLst/>
                <a:latin typeface="+mj-lt"/>
                <a:ea typeface="Times New Roman" panose="02020603050405020304" pitchFamily="18" charset="0"/>
              </a:rPr>
              <a:t>Cíle lékové politiky</a:t>
            </a:r>
            <a:endParaRPr lang="cs-CZ" dirty="0"/>
          </a:p>
        </p:txBody>
      </p:sp>
      <p:sp>
        <p:nvSpPr>
          <p:cNvPr id="7" name="Zástupný obsah 6">
            <a:extLst>
              <a:ext uri="{FF2B5EF4-FFF2-40B4-BE49-F238E27FC236}">
                <a16:creationId xmlns:a16="http://schemas.microsoft.com/office/drawing/2014/main" id="{8B5F1216-AAD8-6175-F184-C27A77771D3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lvl="0" indent="-342900">
              <a:lnSpc>
                <a:spcPct val="150000"/>
              </a:lnSpc>
              <a:spcAft>
                <a:spcPts val="0"/>
              </a:spcAft>
              <a:buFont typeface="+mj-lt"/>
              <a:buAutoNum type="arabicPeriod"/>
              <a:tabLst>
                <a:tab pos="228600" algn="l"/>
              </a:tabLst>
            </a:pPr>
            <a:r>
              <a:rPr lang="cs-CZ" sz="2400" dirty="0">
                <a:effectLst/>
                <a:latin typeface="Avenir Next" panose="020B0503020202020204" pitchFamily="34" charset="0"/>
                <a:ea typeface="Times New Roman" panose="02020603050405020304" pitchFamily="18" charset="0"/>
              </a:rPr>
              <a:t>Zajištění účinných, bezpečných a kvalitních léčiv pro své občany</a:t>
            </a: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Font typeface="+mj-lt"/>
              <a:buAutoNum type="arabicPeriod"/>
              <a:tabLst>
                <a:tab pos="228600" algn="l"/>
              </a:tabLst>
            </a:pPr>
            <a:endParaRPr lang="cs-CZ" sz="1000" dirty="0">
              <a:effectLst/>
              <a:latin typeface="Avenir Next" panose="020B050302020202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Font typeface="+mj-lt"/>
              <a:buAutoNum type="arabicPeriod"/>
              <a:tabLst>
                <a:tab pos="228600" algn="l"/>
              </a:tabLst>
            </a:pPr>
            <a:r>
              <a:rPr lang="cs-CZ" sz="2400" dirty="0">
                <a:effectLst/>
                <a:latin typeface="Avenir Next" panose="020B0503020202020204" pitchFamily="34" charset="0"/>
                <a:ea typeface="Times New Roman" panose="02020603050405020304" pitchFamily="18" charset="0"/>
              </a:rPr>
              <a:t> Za limitovaný objem finančních prostředků zabezpečit maximální objem péče, od  kterého lze očekávat zvyšování kvality života lidí</a:t>
            </a: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Font typeface="+mj-lt"/>
              <a:buAutoNum type="arabicPeriod"/>
              <a:tabLst>
                <a:tab pos="228600" algn="l"/>
              </a:tabLst>
            </a:pPr>
            <a:endParaRPr lang="cs-CZ" sz="1000" dirty="0">
              <a:effectLst/>
              <a:latin typeface="Avenir Next" panose="020B0503020202020204" pitchFamily="34" charset="0"/>
              <a:ea typeface="Times New Roman" panose="02020603050405020304" pitchFamily="18" charset="0"/>
            </a:endParaRPr>
          </a:p>
          <a:p>
            <a:pPr marL="342900" lvl="0" indent="-342900">
              <a:lnSpc>
                <a:spcPct val="150000"/>
              </a:lnSpc>
              <a:spcAft>
                <a:spcPts val="0"/>
              </a:spcAft>
              <a:buFont typeface="+mj-lt"/>
              <a:buAutoNum type="arabicPeriod"/>
              <a:tabLst>
                <a:tab pos="228600" algn="l"/>
              </a:tabLst>
            </a:pPr>
            <a:r>
              <a:rPr lang="cs-CZ" sz="2400" dirty="0">
                <a:effectLst/>
                <a:latin typeface="Avenir Next" panose="020B0503020202020204" pitchFamily="34" charset="0"/>
                <a:ea typeface="Times New Roman" panose="02020603050405020304" pitchFamily="18" charset="0"/>
              </a:rPr>
              <a:t> Tuto péči poskytnout občanům, kteří ji skutečně potřebují</a:t>
            </a:r>
          </a:p>
          <a:p>
            <a:endParaRPr lang="cs-CZ" dirty="0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9D0C7B14-40C5-5E63-13BE-4A4DC0F484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2016" y="6332778"/>
            <a:ext cx="10801350" cy="304699"/>
          </a:xfrm>
        </p:spPr>
        <p:txBody>
          <a:bodyPr/>
          <a:lstStyle/>
          <a:p>
            <a:r>
              <a:rPr lang="cs-CZ" dirty="0"/>
              <a:t>Michal Prokeš, WHO</a:t>
            </a:r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681287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BA7B485-234A-C740-8E1C-C9CDAE955B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4262" y="393299"/>
            <a:ext cx="8101013" cy="454227"/>
          </a:xfrm>
        </p:spPr>
        <p:txBody>
          <a:bodyPr/>
          <a:lstStyle/>
          <a:p>
            <a:r>
              <a:rPr lang="cs-CZ" dirty="0"/>
              <a:t>Stárnutí populace očima nemocnosti</a:t>
            </a:r>
          </a:p>
        </p:txBody>
      </p:sp>
      <p:sp>
        <p:nvSpPr>
          <p:cNvPr id="3" name="Zástupný symbol pro obsah 2">
            <a:extLst>
              <a:ext uri="{FF2B5EF4-FFF2-40B4-BE49-F238E27FC236}">
                <a16:creationId xmlns:a16="http://schemas.microsoft.com/office/drawing/2014/main" id="{357849CB-4A6A-6D40-AD6F-6A4E37703A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4262" y="1124746"/>
            <a:ext cx="9726194" cy="844732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/>
          <a:p>
            <a:r>
              <a:rPr lang="cs-CZ" dirty="0"/>
              <a:t>Populace bude starší a více nemocná = chronická medikace</a:t>
            </a:r>
          </a:p>
          <a:p>
            <a:r>
              <a:rPr lang="cs-CZ" dirty="0"/>
              <a:t>Rosta také polymorbidita = souběh několika chronických onemocnění</a:t>
            </a: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44C58157-2FA0-41D6-8264-F171945C04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77504" y="6119447"/>
            <a:ext cx="2361143" cy="526124"/>
          </a:xfrm>
          <a:prstGeom prst="rect">
            <a:avLst/>
          </a:prstGeom>
        </p:spPr>
      </p:pic>
      <p:pic>
        <p:nvPicPr>
          <p:cNvPr id="5" name="Obrázek 4">
            <a:extLst>
              <a:ext uri="{FF2B5EF4-FFF2-40B4-BE49-F238E27FC236}">
                <a16:creationId xmlns:a16="http://schemas.microsoft.com/office/drawing/2014/main" id="{EEA0192D-C236-53F3-C75B-268BAFF381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260" y="2116843"/>
            <a:ext cx="8641220" cy="45351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2328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8B770D3-ECA6-AF7F-B7AA-B478B2714A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9407" y="423339"/>
            <a:ext cx="8101013" cy="454227"/>
          </a:xfrm>
        </p:spPr>
        <p:txBody>
          <a:bodyPr/>
          <a:lstStyle/>
          <a:p>
            <a:r>
              <a:rPr lang="cs-CZ" dirty="0"/>
              <a:t>Vysoké prevalence chronických nemocí</a:t>
            </a: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99F43111-4444-174D-0774-09EF891815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6560" y="1422400"/>
            <a:ext cx="7665719" cy="4826001"/>
          </a:xfrm>
          <a:prstGeom prst="rect">
            <a:avLst/>
          </a:prstGeom>
        </p:spPr>
      </p:pic>
      <p:sp>
        <p:nvSpPr>
          <p:cNvPr id="6" name="TextovéPole 5">
            <a:extLst>
              <a:ext uri="{FF2B5EF4-FFF2-40B4-BE49-F238E27FC236}">
                <a16:creationId xmlns:a16="http://schemas.microsoft.com/office/drawing/2014/main" id="{3767B4FE-50DD-F69D-5EA9-4BCD8F1465DA}"/>
              </a:ext>
            </a:extLst>
          </p:cNvPr>
          <p:cNvSpPr txBox="1"/>
          <p:nvPr/>
        </p:nvSpPr>
        <p:spPr>
          <a:xfrm>
            <a:off x="299721" y="1422400"/>
            <a:ext cx="3567164" cy="452431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3 mil. bolesti páteř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2,5 mil hypertenz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1,5 mil dyslipidém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1,5 mil. Alerg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1,3 mil artróz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1,0 mil diabe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550 tis. astma + 300 tis. COP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800 tis. štítná žláz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700 tis. osteoporóz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600 tis. migrén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600 tis. úzkos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500 tis. ICH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500 tis. depre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500 tis. inkontin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400 tis. onemocnění ledvi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dirty="0"/>
              <a:t>200 tis. CMP</a:t>
            </a: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883A403C-E3EF-5384-1942-485E44685D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31136" y="6248401"/>
            <a:ext cx="2361143" cy="526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23081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8" name="Rectangle 87">
            <a:extLst>
              <a:ext uri="{FF2B5EF4-FFF2-40B4-BE49-F238E27FC236}">
                <a16:creationId xmlns:a16="http://schemas.microsoft.com/office/drawing/2014/main" id="{DCC231C8-C761-4B31-9B1C-C6D19248C6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8CAFD22D-7E83-72BC-06F2-72D0675863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8624" y="557189"/>
            <a:ext cx="2734626" cy="5567891"/>
          </a:xfrm>
        </p:spPr>
        <p:txBody>
          <a:bodyPr anchor="ctr">
            <a:normAutofit/>
          </a:bodyPr>
          <a:lstStyle/>
          <a:p>
            <a:r>
              <a:rPr lang="cs-CZ" sz="4400" dirty="0"/>
              <a:t>Nevýhody </a:t>
            </a:r>
            <a:br>
              <a:rPr lang="cs-CZ" sz="4400" dirty="0"/>
            </a:br>
            <a:r>
              <a:rPr lang="cs-CZ" sz="4400" dirty="0"/>
              <a:t>omezení </a:t>
            </a:r>
            <a:br>
              <a:rPr lang="cs-CZ" sz="4400" dirty="0"/>
            </a:br>
            <a:r>
              <a:rPr lang="cs-CZ" sz="4400" dirty="0"/>
              <a:t>preskripce </a:t>
            </a:r>
            <a:br>
              <a:rPr lang="cs-CZ" sz="4400" dirty="0"/>
            </a:br>
            <a:r>
              <a:rPr lang="cs-CZ" sz="4400" dirty="0"/>
              <a:t>na specialisty</a:t>
            </a:r>
          </a:p>
        </p:txBody>
      </p:sp>
      <p:graphicFrame>
        <p:nvGraphicFramePr>
          <p:cNvPr id="18" name="Zástupný obsah 2">
            <a:extLst>
              <a:ext uri="{FF2B5EF4-FFF2-40B4-BE49-F238E27FC236}">
                <a16:creationId xmlns:a16="http://schemas.microsoft.com/office/drawing/2014/main" id="{5FE7E732-B055-4BF7-E8D0-BD3D74434B19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40508614"/>
              </p:ext>
            </p:extLst>
          </p:nvPr>
        </p:nvGraphicFramePr>
        <p:xfrm>
          <a:off x="3143250" y="296883"/>
          <a:ext cx="8755825" cy="62939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3665465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1" name="Rectangle 30">
            <a:extLst>
              <a:ext uri="{FF2B5EF4-FFF2-40B4-BE49-F238E27FC236}">
                <a16:creationId xmlns:a16="http://schemas.microsoft.com/office/drawing/2014/main" id="{386BBDA8-7E31-47B7-800A-97A2BD6778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03BCC38-B1C5-40F2-C046-35E4ABF5C3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3713" y="182583"/>
            <a:ext cx="7229391" cy="687285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en-US" sz="2800" kern="1200" dirty="0">
                <a:latin typeface="+mj-lt"/>
                <a:ea typeface="+mj-ea"/>
                <a:cs typeface="+mj-cs"/>
              </a:rPr>
              <a:t>Obsaženo </a:t>
            </a:r>
            <a:r>
              <a:rPr lang="en-US" sz="2800" dirty="0">
                <a:latin typeface="+mj-lt"/>
                <a:cs typeface="+mj-cs"/>
              </a:rPr>
              <a:t>v Strategickém rámci rozvoje péče o zdraví v České republice</a:t>
            </a:r>
            <a:r>
              <a:rPr lang="en-US" sz="2800" kern="1200" dirty="0">
                <a:latin typeface="+mj-lt"/>
                <a:ea typeface="+mj-ea"/>
                <a:cs typeface="+mj-cs"/>
              </a:rPr>
              <a:t> ZDRAVÍ 2030</a:t>
            </a:r>
          </a:p>
        </p:txBody>
      </p:sp>
      <p:pic>
        <p:nvPicPr>
          <p:cNvPr id="4" name="Zástupný obsah 3">
            <a:extLst>
              <a:ext uri="{FF2B5EF4-FFF2-40B4-BE49-F238E27FC236}">
                <a16:creationId xmlns:a16="http://schemas.microsoft.com/office/drawing/2014/main" id="{CA23E09D-FBA8-E1E6-C065-A77E586432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896" y="598219"/>
            <a:ext cx="4065921" cy="5747354"/>
          </a:xfrm>
          <a:prstGeom prst="rect">
            <a:avLst/>
          </a:prstGeom>
        </p:spPr>
      </p:pic>
      <p:sp>
        <p:nvSpPr>
          <p:cNvPr id="28" name="Content Placeholder 27">
            <a:extLst>
              <a:ext uri="{FF2B5EF4-FFF2-40B4-BE49-F238E27FC236}">
                <a16:creationId xmlns:a16="http://schemas.microsoft.com/office/drawing/2014/main" id="{76CBE6E2-F988-942F-B98F-AF42694FC9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00748" y="869868"/>
            <a:ext cx="7543767" cy="5805549"/>
          </a:xfrm>
        </p:spPr>
        <p:txBody>
          <a:bodyPr>
            <a:noAutofit/>
          </a:bodyPr>
          <a:lstStyle/>
          <a:p>
            <a:r>
              <a:rPr lang="cs-CZ" sz="1800" b="1" dirty="0">
                <a:solidFill>
                  <a:srgbClr val="1E5191"/>
                </a:solidFill>
                <a:effectLst/>
                <a:highlight>
                  <a:srgbClr val="00FF00"/>
                </a:highlight>
                <a:latin typeface="Avenir Next" panose="020B0503020202020204" pitchFamily="34" charset="0"/>
              </a:rPr>
              <a:t>2.2.1. Specifický cíl 1.1 ‒ Reforma primární péče </a:t>
            </a:r>
            <a:endParaRPr lang="cs-CZ" sz="1800" b="1" dirty="0">
              <a:highlight>
                <a:srgbClr val="00FF00"/>
              </a:highlight>
              <a:latin typeface="Avenir Next" panose="020B0503020202020204" pitchFamily="34" charset="0"/>
            </a:endParaRPr>
          </a:p>
          <a:p>
            <a:r>
              <a:rPr lang="cs-CZ" sz="1600" b="1" dirty="0">
                <a:solidFill>
                  <a:srgbClr val="1E1E1E"/>
                </a:solidFill>
                <a:effectLst/>
                <a:highlight>
                  <a:srgbClr val="FFFF00"/>
                </a:highlight>
                <a:latin typeface="Avenir Next" panose="020B0503020202020204" pitchFamily="34" charset="0"/>
              </a:rPr>
              <a:t>Specifický cíl sleduje </a:t>
            </a:r>
            <a:r>
              <a:rPr lang="cs-CZ" sz="1600" dirty="0">
                <a:solidFill>
                  <a:srgbClr val="1E1E1E"/>
                </a:solidFill>
                <a:effectLst/>
                <a:latin typeface="Avenir Next" panose="020B0503020202020204" pitchFamily="34" charset="0"/>
              </a:rPr>
              <a:t>zejména postupnou </a:t>
            </a:r>
            <a:r>
              <a:rPr lang="cs-CZ" sz="1600" b="1" dirty="0">
                <a:solidFill>
                  <a:srgbClr val="1E1E1E"/>
                </a:solidFill>
                <a:effectLst/>
                <a:highlight>
                  <a:srgbClr val="FFFF00"/>
                </a:highlight>
                <a:latin typeface="Avenir Next" panose="020B0503020202020204" pitchFamily="34" charset="0"/>
              </a:rPr>
              <a:t>proměnu a posílení primární péče tak, aby byla schopna poskytovat </a:t>
            </a:r>
            <a:r>
              <a:rPr lang="cs-CZ" sz="1600" dirty="0">
                <a:solidFill>
                  <a:srgbClr val="1E1E1E"/>
                </a:solidFill>
                <a:effectLst/>
                <a:latin typeface="Avenir Next" panose="020B0503020202020204" pitchFamily="34" charset="0"/>
              </a:rPr>
              <a:t>v maximálním rozsahu co nejširší, </a:t>
            </a:r>
            <a:br>
              <a:rPr lang="cs-CZ" sz="1600" dirty="0">
                <a:solidFill>
                  <a:srgbClr val="1E1E1E"/>
                </a:solidFill>
                <a:effectLst/>
                <a:latin typeface="Avenir Next" panose="020B0503020202020204" pitchFamily="34" charset="0"/>
              </a:rPr>
            </a:br>
            <a:r>
              <a:rPr lang="cs-CZ" sz="1600" dirty="0">
                <a:solidFill>
                  <a:srgbClr val="1E1E1E"/>
                </a:solidFill>
                <a:effectLst/>
                <a:latin typeface="Avenir Next" panose="020B0503020202020204" pitchFamily="34" charset="0"/>
              </a:rPr>
              <a:t>a přitom </a:t>
            </a:r>
            <a:r>
              <a:rPr lang="cs-CZ" sz="1600" b="1" dirty="0">
                <a:solidFill>
                  <a:srgbClr val="1E1E1E"/>
                </a:solidFill>
                <a:effectLst/>
                <a:highlight>
                  <a:srgbClr val="FFFF00"/>
                </a:highlight>
                <a:latin typeface="Avenir Next" panose="020B0503020202020204" pitchFamily="34" charset="0"/>
              </a:rPr>
              <a:t>kvalitní péči snadno dostupnou pacientovi</a:t>
            </a:r>
            <a:r>
              <a:rPr lang="cs-CZ" sz="1600" dirty="0">
                <a:solidFill>
                  <a:srgbClr val="1E1E1E"/>
                </a:solidFill>
                <a:effectLst/>
                <a:latin typeface="Avenir Next" panose="020B0503020202020204" pitchFamily="34" charset="0"/>
              </a:rPr>
              <a:t>. Ačkoli jde zejména o posílení </a:t>
            </a:r>
            <a:r>
              <a:rPr lang="cs-CZ" sz="1600" b="1" dirty="0">
                <a:solidFill>
                  <a:srgbClr val="1E1E1E"/>
                </a:solidFill>
                <a:effectLst/>
                <a:highlight>
                  <a:srgbClr val="FFFF00"/>
                </a:highlight>
                <a:latin typeface="Avenir Next" panose="020B0503020202020204" pitchFamily="34" charset="0"/>
              </a:rPr>
              <a:t>postavení a rozšíření pravomocí registrujících praktických lékařu</a:t>
            </a:r>
            <a:r>
              <a:rPr lang="cs-CZ" sz="1600" dirty="0">
                <a:solidFill>
                  <a:srgbClr val="1E1E1E"/>
                </a:solidFill>
                <a:effectLst/>
                <a:latin typeface="Avenir Next" panose="020B0503020202020204" pitchFamily="34" charset="0"/>
              </a:rPr>
              <a:t>̊, fakticky reforma přinese postupnou rekonstrukci kapacit celého ambulantního segmentu péče, včetně ambulantních specialistů. </a:t>
            </a:r>
          </a:p>
          <a:p>
            <a:r>
              <a:rPr lang="cs-CZ" sz="1600" b="1" dirty="0">
                <a:solidFill>
                  <a:srgbClr val="1E5191"/>
                </a:solidFill>
                <a:effectLst/>
                <a:highlight>
                  <a:srgbClr val="00FF00"/>
                </a:highlight>
                <a:latin typeface="Avenir Next" panose="020B0503020202020204" pitchFamily="34" charset="0"/>
              </a:rPr>
              <a:t>2.2.2. Specifický cíl 1.2 ‒ Prevence nemocí, podpora a ochrana zdraví; zvyšování zdravotní gramotnosti </a:t>
            </a:r>
            <a:endParaRPr lang="cs-CZ" sz="1600" b="1" dirty="0">
              <a:highlight>
                <a:srgbClr val="00FF00"/>
              </a:highlight>
              <a:latin typeface="Avenir Next" panose="020B0503020202020204" pitchFamily="34" charset="0"/>
            </a:endParaRPr>
          </a:p>
          <a:p>
            <a:r>
              <a:rPr lang="cs-CZ" sz="1600" dirty="0">
                <a:solidFill>
                  <a:srgbClr val="1E1E1E"/>
                </a:solidFill>
                <a:effectLst/>
                <a:latin typeface="Avenir Next" panose="020B0503020202020204" pitchFamily="34" charset="0"/>
              </a:rPr>
              <a:t>Význam tohoto specifického cíle vyplývá z dostupných mezinárodních srovnání a národních statistických šetření, a zvyhodnocení epidemiologické situace v souvislosti s pandemií COVID- 19 a jejími dopady v ČR a ve světě</a:t>
            </a:r>
          </a:p>
          <a:p>
            <a:r>
              <a:rPr lang="cs-CZ" sz="1600" b="1" dirty="0">
                <a:solidFill>
                  <a:srgbClr val="1E5191"/>
                </a:solidFill>
                <a:effectLst/>
                <a:latin typeface="Avenir Next" panose="020B0503020202020204" pitchFamily="34" charset="0"/>
              </a:rPr>
              <a:t>2.2.3. </a:t>
            </a:r>
            <a:r>
              <a:rPr lang="cs-CZ" sz="1600" b="1" dirty="0">
                <a:solidFill>
                  <a:srgbClr val="1E5191"/>
                </a:solidFill>
                <a:effectLst/>
                <a:highlight>
                  <a:srgbClr val="00FF00"/>
                </a:highlight>
                <a:latin typeface="Avenir Next" panose="020B0503020202020204" pitchFamily="34" charset="0"/>
              </a:rPr>
              <a:t>Specifický cíl 2.1 ‒ Implementace modelů integrované péče, </a:t>
            </a:r>
            <a:r>
              <a:rPr lang="cs-CZ" sz="1600" b="1" dirty="0">
                <a:solidFill>
                  <a:srgbClr val="1E5191"/>
                </a:solidFill>
                <a:effectLst/>
                <a:latin typeface="Avenir Next" panose="020B0503020202020204" pitchFamily="34" charset="0"/>
              </a:rPr>
              <a:t>integrace zdravotní a sociální péče, reforma péče o duševní zdraví </a:t>
            </a:r>
            <a:endParaRPr lang="cs-CZ" sz="1600" b="1" dirty="0">
              <a:latin typeface="Avenir Next" panose="020B0503020202020204" pitchFamily="34" charset="0"/>
            </a:endParaRPr>
          </a:p>
          <a:p>
            <a:r>
              <a:rPr lang="cs-CZ" sz="1600" dirty="0">
                <a:solidFill>
                  <a:srgbClr val="1E1E1E"/>
                </a:solidFill>
                <a:effectLst/>
                <a:latin typeface="Avenir Next" panose="020B0503020202020204" pitchFamily="34" charset="0"/>
              </a:rPr>
              <a:t>Zásadní motivací pro zařazení tohoto specifického cíle mezi priority Strategického rámce Zdraví 2030 byla podkladová data o stárnutí české populace a o rostoucím podílu chronicky nemocných pacientů. </a:t>
            </a:r>
            <a:br>
              <a:rPr lang="cs-CZ" sz="1600" dirty="0">
                <a:solidFill>
                  <a:srgbClr val="1E1E1E"/>
                </a:solidFill>
                <a:effectLst/>
                <a:latin typeface="Avenir Next" panose="020B0503020202020204" pitchFamily="34" charset="0"/>
              </a:rPr>
            </a:br>
            <a:r>
              <a:rPr lang="cs-CZ" sz="1600" dirty="0">
                <a:solidFill>
                  <a:srgbClr val="1E1E1E"/>
                </a:solidFill>
                <a:effectLst/>
                <a:latin typeface="Avenir Next" panose="020B0503020202020204" pitchFamily="34" charset="0"/>
              </a:rPr>
              <a:t>V ČR přibývá občanů, kteří trpí dlouhodobě nepříznivým zdravotním stavem, což zvyšuje nároky na dostupné zdravotní a sociální služby poskytované současně, a to v různé intenzitě a měnícím se poměru. Vedle stárnutí populace a prodlužující se absolutní délky života má v tomto ohledu zásadní význam stále relativně krátká doba života ve zdraví, tedy do první vážné nemoci</a:t>
            </a:r>
            <a:endParaRPr lang="cs-CZ" sz="1600" dirty="0">
              <a:latin typeface="Avenir Next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97553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1" name="Rectangle 30">
            <a:extLst>
              <a:ext uri="{FF2B5EF4-FFF2-40B4-BE49-F238E27FC236}">
                <a16:creationId xmlns:a16="http://schemas.microsoft.com/office/drawing/2014/main" id="{386BBDA8-7E31-47B7-800A-97A2BD6778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Nadpis 1">
            <a:extLst>
              <a:ext uri="{FF2B5EF4-FFF2-40B4-BE49-F238E27FC236}">
                <a16:creationId xmlns:a16="http://schemas.microsoft.com/office/drawing/2014/main" id="{A03BCC38-B1C5-40F2-C046-35E4ABF5C3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0765" y="332509"/>
            <a:ext cx="6875812" cy="831273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sz="2800" kern="1200" dirty="0">
                <a:latin typeface="+mj-lt"/>
                <a:ea typeface="+mj-ea"/>
                <a:cs typeface="+mj-cs"/>
              </a:rPr>
              <a:t>Obsaženo </a:t>
            </a:r>
            <a:r>
              <a:rPr lang="en-US" sz="2800" dirty="0">
                <a:latin typeface="+mj-lt"/>
                <a:cs typeface="+mj-cs"/>
              </a:rPr>
              <a:t>v Strategickém rámci rozvoje péče o zdraví v České republice</a:t>
            </a:r>
            <a:r>
              <a:rPr lang="en-US" sz="2800" kern="1200" dirty="0">
                <a:latin typeface="+mj-lt"/>
                <a:ea typeface="+mj-ea"/>
                <a:cs typeface="+mj-cs"/>
              </a:rPr>
              <a:t> ZDRAVÍ 2030</a:t>
            </a:r>
          </a:p>
        </p:txBody>
      </p:sp>
      <p:pic>
        <p:nvPicPr>
          <p:cNvPr id="4" name="Zástupný obsah 3">
            <a:extLst>
              <a:ext uri="{FF2B5EF4-FFF2-40B4-BE49-F238E27FC236}">
                <a16:creationId xmlns:a16="http://schemas.microsoft.com/office/drawing/2014/main" id="{CA23E09D-FBA8-E1E6-C065-A77E586432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5524" y="557189"/>
            <a:ext cx="4065921" cy="5747354"/>
          </a:xfrm>
          <a:prstGeom prst="rect">
            <a:avLst/>
          </a:prstGeom>
        </p:spPr>
      </p:pic>
      <p:pic>
        <p:nvPicPr>
          <p:cNvPr id="2050" name="Picture 2" descr="page51image144368576">
            <a:extLst>
              <a:ext uri="{FF2B5EF4-FFF2-40B4-BE49-F238E27FC236}">
                <a16:creationId xmlns:a16="http://schemas.microsoft.com/office/drawing/2014/main" id="{4B9C7788-4F05-B21D-82F4-9EC6CEE7FE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4224" y="1413655"/>
            <a:ext cx="6875812" cy="48908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66296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B5F68D48-115B-7270-0D9D-0A28300FF5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C0488-217C-405E-84A7-2C6B75A710C1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8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7D834E6-0D70-3055-386C-BF92819F373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80000" y="1052736"/>
            <a:ext cx="11371574" cy="5498716"/>
          </a:xfrm>
        </p:spPr>
        <p:txBody>
          <a:bodyPr anchor="t">
            <a:noAutofit/>
          </a:bodyPr>
          <a:lstStyle/>
          <a:p>
            <a:pPr lvl="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000" b="1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imární péče je základem fungujícího zdravotnictví ve vyspělých zemích</a:t>
            </a:r>
            <a:endParaRPr lang="cs-CZ" sz="2000" b="1" dirty="0">
              <a:effectLst/>
              <a:highlight>
                <a:srgbClr val="FFFF00"/>
              </a:highlight>
              <a:latin typeface="Avenir Next" panose="020B05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000" dirty="0">
                <a:solidFill>
                  <a:srgbClr val="000000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á zásadní vliv na </a:t>
            </a:r>
            <a:r>
              <a:rPr lang="cs-CZ" sz="2000" b="1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dravotní stav celé populace </a:t>
            </a:r>
            <a:r>
              <a:rPr lang="cs-CZ" sz="2000" dirty="0">
                <a:solidFill>
                  <a:srgbClr val="000000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dlouhodobou </a:t>
            </a:r>
            <a:r>
              <a:rPr lang="cs-CZ" sz="2000" b="1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konomickou udržitelnost </a:t>
            </a:r>
            <a:r>
              <a:rPr lang="cs-CZ" sz="2000" dirty="0">
                <a:solidFill>
                  <a:srgbClr val="000000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elého zdravotního systému. </a:t>
            </a:r>
            <a:endParaRPr lang="cs-CZ" sz="2000" dirty="0">
              <a:effectLst/>
              <a:latin typeface="Avenir Next" panose="020B05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000" dirty="0">
                <a:solidFill>
                  <a:srgbClr val="000000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bře pracující, motivovaný a maximem možných kompetencí vybavený lékař </a:t>
            </a:r>
            <a:r>
              <a:rPr lang="cs-CZ" sz="2000" b="1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imární péče je jeho základním kamenem. </a:t>
            </a:r>
            <a:endParaRPr lang="cs-CZ" sz="2000" b="1" dirty="0">
              <a:effectLst/>
              <a:highlight>
                <a:srgbClr val="FFFF00"/>
              </a:highlight>
              <a:latin typeface="Avenir Next" panose="020B05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000" dirty="0">
                <a:solidFill>
                  <a:srgbClr val="000000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e schopen velmi efektivně poskytovat kvalitní a přitom dostupnou (ve smyslu geografickém, časovém, ekonomickém i sociálním) péči. </a:t>
            </a:r>
            <a:endParaRPr lang="cs-CZ" sz="2000" dirty="0">
              <a:effectLst/>
              <a:latin typeface="Avenir Next" panose="020B05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000" dirty="0">
                <a:solidFill>
                  <a:srgbClr val="000000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dle </a:t>
            </a:r>
            <a:r>
              <a:rPr lang="cs-CZ" sz="2000" b="1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ECD mají praktičtí lékaři největší potenciál </a:t>
            </a:r>
            <a:r>
              <a:rPr lang="cs-CZ" sz="2000" dirty="0">
                <a:solidFill>
                  <a:srgbClr val="000000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 zlepšení a udržení zdraví populace, zvyšují její zdravotní gramotnost, garantují péči o vulnerabilní skupiny občanů, zajišťují rovnost přístupu k péči a svým působením činí zdravotní systém udržitelnějším a efektivnějším</a:t>
            </a:r>
            <a:endParaRPr lang="cs-CZ" sz="2000" dirty="0">
              <a:effectLst/>
              <a:latin typeface="Avenir Next" panose="020B05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000" dirty="0">
                <a:solidFill>
                  <a:srgbClr val="000000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vůli nízkým kompetencím lékařů primární péče, ale i nedostatečnému spektru poskytovaných služeb daných suboptimálním rozvojem oboru a nedostatečnému využívání jejich regulační a organizační role pro přístup k nákladným specializovaným službám, není potenciál primární péče v ČR, ve srovnání s vyspělými zeměmi EU, dobře využit. </a:t>
            </a:r>
            <a:endParaRPr lang="cs-CZ" sz="2000" dirty="0">
              <a:effectLst/>
              <a:latin typeface="Avenir Next" panose="020B05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000" dirty="0">
                <a:solidFill>
                  <a:srgbClr val="000000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 znamená </a:t>
            </a:r>
            <a:r>
              <a:rPr lang="cs-CZ" sz="2000" b="1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bytečné náklady v řádu desítek miliard </a:t>
            </a:r>
            <a:r>
              <a:rPr lang="cs-CZ" sz="2000" dirty="0">
                <a:solidFill>
                  <a:srgbClr val="000000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run ročně a </a:t>
            </a:r>
            <a:r>
              <a:rPr lang="cs-CZ" sz="2000" b="1" dirty="0">
                <a:solidFill>
                  <a:srgbClr val="000000"/>
                </a:solidFill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yskomfort pro pacienta</a:t>
            </a:r>
            <a:endParaRPr lang="cs-CZ" sz="2000" dirty="0">
              <a:effectLst/>
              <a:latin typeface="Avenir Next" panose="020B05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9BF62A94-22D6-F8E4-AF89-7A24A33E2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0000" y="199552"/>
            <a:ext cx="11232000" cy="792088"/>
          </a:xfrm>
        </p:spPr>
        <p:txBody>
          <a:bodyPr/>
          <a:lstStyle/>
          <a:p>
            <a:pPr>
              <a:lnSpc>
                <a:spcPct val="107000"/>
              </a:lnSpc>
              <a:spcAft>
                <a:spcPts val="795"/>
              </a:spcAft>
            </a:pPr>
            <a:r>
              <a:rPr lang="cs-CZ" sz="2400" b="1" dirty="0">
                <a:solidFill>
                  <a:srgbClr val="013F8A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cepce změn primární péče v ČR</a:t>
            </a:r>
            <a:r>
              <a:rPr lang="cs-CZ" sz="2400" b="1" dirty="0">
                <a:solidFill>
                  <a:srgbClr val="013F8A"/>
                </a:solidFill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br>
              <a:rPr lang="cs-CZ" sz="2400" b="1" dirty="0">
                <a:solidFill>
                  <a:srgbClr val="013F8A"/>
                </a:solidFill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cs-CZ" sz="2400" b="1" i="1" dirty="0">
                <a:solidFill>
                  <a:srgbClr val="013F8A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acovní skupina pro reformu primární péče MZČR</a:t>
            </a:r>
            <a:endParaRPr lang="cs-CZ" sz="2400" dirty="0">
              <a:solidFill>
                <a:srgbClr val="013F8A"/>
              </a:solidFill>
              <a:latin typeface="Avenir Next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08423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B5F68D48-115B-7270-0D9D-0A28300FF5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6C0488-217C-405E-84A7-2C6B75A710C1}" type="slidenum">
              <a:rPr lang="en-GB" smtClean="0">
                <a:solidFill>
                  <a:srgbClr val="FFFFFF">
                    <a:lumMod val="50000"/>
                  </a:srgbClr>
                </a:solidFill>
              </a:rPr>
              <a:pPr/>
              <a:t>9</a:t>
            </a:fld>
            <a:endParaRPr lang="en-GB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B7D834E6-0D70-3055-386C-BF92819F373E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80000" y="1052736"/>
            <a:ext cx="11232000" cy="5498716"/>
          </a:xfrm>
        </p:spPr>
        <p:txBody>
          <a:bodyPr anchor="t">
            <a:normAutofit fontScale="85000" lnSpcReduction="20000"/>
          </a:bodyPr>
          <a:lstStyle/>
          <a:p>
            <a:pPr marL="0" lvl="0" indent="0" algn="just">
              <a:lnSpc>
                <a:spcPts val="1200"/>
              </a:lnSpc>
              <a:spcBef>
                <a:spcPts val="600"/>
              </a:spcBef>
              <a:buNone/>
            </a:pPr>
            <a:endParaRPr lang="cs-CZ" sz="1800" b="1" u="sng" dirty="0">
              <a:effectLst/>
              <a:latin typeface="Avenir Next" panose="020B05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lvl="0" indent="0" algn="just">
              <a:lnSpc>
                <a:spcPts val="1200"/>
              </a:lnSpc>
              <a:spcBef>
                <a:spcPts val="600"/>
              </a:spcBef>
              <a:buNone/>
            </a:pPr>
            <a:r>
              <a:rPr lang="cs-CZ" sz="2500" b="1" u="sng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kripční omezení </a:t>
            </a:r>
            <a:endParaRPr lang="cs-CZ" sz="2500" dirty="0">
              <a:effectLst/>
              <a:latin typeface="Avenir Next" panose="020B05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2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400" b="1" dirty="0"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ásadním bodem reformy primární péče je odstranění preskripčních omezení</a:t>
            </a:r>
            <a:r>
              <a:rPr lang="cs-CZ" sz="24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která znamenají administrativní bariéru, která zásadním způsobem </a:t>
            </a:r>
          </a:p>
          <a:p>
            <a:pPr marL="0" lvl="0" indent="0" algn="just">
              <a:lnSpc>
                <a:spcPct val="100000"/>
              </a:lnSpc>
              <a:spcBef>
                <a:spcPts val="600"/>
              </a:spcBef>
              <a:buNone/>
            </a:pPr>
            <a:r>
              <a:rPr lang="cs-CZ" sz="24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a) omezuje kompetence praktických lékařů</a:t>
            </a:r>
          </a:p>
          <a:p>
            <a:pPr marL="0" lvl="0" indent="0" algn="just">
              <a:lnSpc>
                <a:spcPct val="100000"/>
              </a:lnSpc>
              <a:spcBef>
                <a:spcPts val="600"/>
              </a:spcBef>
              <a:buNone/>
            </a:pPr>
            <a:r>
              <a:rPr lang="cs-CZ" sz="2400" dirty="0"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b) </a:t>
            </a:r>
            <a:r>
              <a:rPr lang="cs-CZ" sz="24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mplikuje dostupnost péče pro pacienty</a:t>
            </a:r>
          </a:p>
          <a:p>
            <a:pPr marL="0" lvl="0" indent="0" algn="just">
              <a:lnSpc>
                <a:spcPct val="100000"/>
              </a:lnSpc>
              <a:spcBef>
                <a:spcPts val="600"/>
              </a:spcBef>
              <a:buNone/>
            </a:pPr>
            <a:r>
              <a:rPr lang="cs-CZ" sz="2400" dirty="0"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c) </a:t>
            </a:r>
            <a:r>
              <a:rPr lang="cs-CZ" sz="24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je jedním z hlavních důvodů obrovského počtu kontaktů se zdravotním systémem v ČR</a:t>
            </a: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400" b="1" dirty="0"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ílem je maximální</a:t>
            </a:r>
            <a:r>
              <a:rPr lang="cs-CZ" sz="2400" dirty="0"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cs-CZ" sz="2400" b="1" dirty="0"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zpřístupnění</a:t>
            </a:r>
            <a:r>
              <a:rPr lang="cs-CZ" sz="2400" dirty="0"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kvalitní farmakoterapie </a:t>
            </a:r>
            <a:r>
              <a:rPr lang="cs-CZ" sz="2400" b="1" dirty="0"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 primární péči odpovídající úrovni vyspělých států EU</a:t>
            </a: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4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šlo k dohodě se zdravotními pojišťovnami na seznamu léků, které mají být </a:t>
            </a:r>
            <a:r>
              <a:rPr lang="cs-CZ" sz="2400" b="1" dirty="0"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volněny pro preskripci praktických lékařů  </a:t>
            </a: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4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 letech 2018 až 2019 je nutné uvolnit léky, které jsou již odsouhlaseny se ZP </a:t>
            </a: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4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 roce 2019 připravit uvolnění zbývajících navržených léků od roku 2020</a:t>
            </a: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4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e všech správních řízeních na SÚKL </a:t>
            </a:r>
            <a:r>
              <a:rPr lang="cs-CZ" sz="2400" b="1" dirty="0"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soudit stávající preskripční omezení a zrušit preskripční omezení pro praktické lékaře</a:t>
            </a:r>
            <a:r>
              <a:rPr lang="cs-CZ" sz="24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pokud k němu není zásadní odborný důvod </a:t>
            </a: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buFont typeface="Courier New" panose="02070309020205020404" pitchFamily="49" charset="0"/>
              <a:buChar char="o"/>
            </a:pPr>
            <a:r>
              <a:rPr lang="cs-CZ" sz="24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skripční omezení </a:t>
            </a:r>
            <a:r>
              <a:rPr lang="cs-CZ" sz="2400" b="1" dirty="0">
                <a:effectLst/>
                <a:highlight>
                  <a:srgbClr val="FFFF00"/>
                </a:highlight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mplikují péči praktických lékařů v ústavech sociální péče</a:t>
            </a:r>
          </a:p>
          <a:p>
            <a:pPr marL="342900" lvl="0" indent="-342900" algn="just">
              <a:lnSpc>
                <a:spcPct val="100000"/>
              </a:lnSpc>
              <a:spcBef>
                <a:spcPts val="600"/>
              </a:spcBef>
              <a:spcAft>
                <a:spcPts val="800"/>
              </a:spcAft>
              <a:buFont typeface="Courier New" panose="02070309020205020404" pitchFamily="49" charset="0"/>
              <a:buChar char="o"/>
            </a:pPr>
            <a:r>
              <a:rPr lang="cs-CZ" sz="2400" dirty="0"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e třeba hledat řešení, které umožní v těchto zařízeních praktickému lékaři realizovat maximálně možnou míru preskripce.</a:t>
            </a:r>
          </a:p>
        </p:txBody>
      </p:sp>
      <p:sp>
        <p:nvSpPr>
          <p:cNvPr id="4" name="Nadpis 3">
            <a:extLst>
              <a:ext uri="{FF2B5EF4-FFF2-40B4-BE49-F238E27FC236}">
                <a16:creationId xmlns:a16="http://schemas.microsoft.com/office/drawing/2014/main" id="{9BF62A94-22D6-F8E4-AF89-7A24A33E27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107000"/>
              </a:lnSpc>
              <a:spcAft>
                <a:spcPts val="795"/>
              </a:spcAft>
            </a:pPr>
            <a:r>
              <a:rPr lang="cs-CZ" sz="2400" b="1" dirty="0">
                <a:solidFill>
                  <a:srgbClr val="013F8A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cepce změn primární péče v ČR</a:t>
            </a:r>
            <a:r>
              <a:rPr lang="cs-CZ" sz="2400" b="1" dirty="0">
                <a:solidFill>
                  <a:srgbClr val="013F8A"/>
                </a:solidFill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br>
              <a:rPr lang="cs-CZ" sz="2400" b="1" dirty="0">
                <a:solidFill>
                  <a:srgbClr val="013F8A"/>
                </a:solidFill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cs-CZ" sz="2400" b="1" i="1" dirty="0">
                <a:solidFill>
                  <a:srgbClr val="013F8A"/>
                </a:solidFill>
                <a:effectLst/>
                <a:latin typeface="Avenir Next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acovní skupina pro reformu primární péče MZČR</a:t>
            </a:r>
            <a:endParaRPr lang="cs-CZ" sz="2400" dirty="0">
              <a:solidFill>
                <a:srgbClr val="013F8A"/>
              </a:solidFill>
              <a:latin typeface="Avenir Next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56538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HETA Motiv">
  <a:themeElements>
    <a:clrScheme name="Custom 2">
      <a:dk1>
        <a:srgbClr val="000000"/>
      </a:dk1>
      <a:lt1>
        <a:srgbClr val="FFFFFF"/>
      </a:lt1>
      <a:dk2>
        <a:srgbClr val="003F8A"/>
      </a:dk2>
      <a:lt2>
        <a:srgbClr val="FFC928"/>
      </a:lt2>
      <a:accent1>
        <a:srgbClr val="6B4481"/>
      </a:accent1>
      <a:accent2>
        <a:srgbClr val="0097A7"/>
      </a:accent2>
      <a:accent3>
        <a:srgbClr val="C2185B"/>
      </a:accent3>
      <a:accent4>
        <a:srgbClr val="7CB341"/>
      </a:accent4>
      <a:accent5>
        <a:srgbClr val="AFB1B0"/>
      </a:accent5>
      <a:accent6>
        <a:srgbClr val="000000"/>
      </a:accent6>
      <a:hlink>
        <a:srgbClr val="003F8A"/>
      </a:hlink>
      <a:folHlink>
        <a:srgbClr val="D3A231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3223</TotalTime>
  <Words>1127</Words>
  <Application>Microsoft Macintosh PowerPoint</Application>
  <PresentationFormat>Širokoúhlá obrazovka</PresentationFormat>
  <Paragraphs>114</Paragraphs>
  <Slides>12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6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2</vt:i4>
      </vt:variant>
    </vt:vector>
  </HeadingPairs>
  <TitlesOfParts>
    <vt:vector size="20" baseType="lpstr">
      <vt:lpstr>Arial</vt:lpstr>
      <vt:lpstr>Avenir Next</vt:lpstr>
      <vt:lpstr>Calibri</vt:lpstr>
      <vt:lpstr>Courier New</vt:lpstr>
      <vt:lpstr>Daytona</vt:lpstr>
      <vt:lpstr>Segoe UI</vt:lpstr>
      <vt:lpstr>iHETA Motiv</vt:lpstr>
      <vt:lpstr>think-cell Slide</vt:lpstr>
      <vt:lpstr>Preskripce léčivých přípravků a péče o pacienty s chronickým onemocněním v primární péči</vt:lpstr>
      <vt:lpstr>Cíle lékové politiky</vt:lpstr>
      <vt:lpstr>Stárnutí populace očima nemocnosti</vt:lpstr>
      <vt:lpstr>Vysoké prevalence chronických nemocí</vt:lpstr>
      <vt:lpstr>Nevýhody  omezení  preskripce  na specialisty</vt:lpstr>
      <vt:lpstr>Obsaženo v Strategickém rámci rozvoje péče o zdraví v České republice ZDRAVÍ 2030</vt:lpstr>
      <vt:lpstr>Obsaženo v Strategickém rámci rozvoje péče o zdraví v České republice ZDRAVÍ 2030</vt:lpstr>
      <vt:lpstr>Koncepce změn primární péče v ČR  Pracovní skupina pro reformu primární péče MZČR</vt:lpstr>
      <vt:lpstr>Koncepce změn primární péče v ČR  Pracovní skupina pro reformu primární péče MZČR</vt:lpstr>
      <vt:lpstr>Co se povedlo – jdeme správnou cestou</vt:lpstr>
      <vt:lpstr>Aktuální potřeba – potřebujeme pokračovat dál nepřešlapovat na místě</vt:lpstr>
      <vt:lpstr>     DĚKUJI ZA POZORNOS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Mandelíková Michaela</dc:creator>
  <cp:lastModifiedBy>David Šmehlík</cp:lastModifiedBy>
  <cp:revision>247</cp:revision>
  <dcterms:created xsi:type="dcterms:W3CDTF">2017-10-25T13:16:00Z</dcterms:created>
  <dcterms:modified xsi:type="dcterms:W3CDTF">2023-10-24T15:25:15Z</dcterms:modified>
</cp:coreProperties>
</file>